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ink/ink1.xml" ContentType="application/inkml+xml"/>
  <Override PartName="/ppt/ink/ink2.xml" ContentType="application/inkml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72" r:id="rId1"/>
  </p:sldMasterIdLst>
  <p:notesMasterIdLst>
    <p:notesMasterId r:id="rId11"/>
  </p:notesMasterIdLst>
  <p:handoutMasterIdLst>
    <p:handoutMasterId r:id="rId12"/>
  </p:handoutMasterIdLst>
  <p:sldIdLst>
    <p:sldId id="268" r:id="rId2"/>
    <p:sldId id="561" r:id="rId3"/>
    <p:sldId id="562" r:id="rId4"/>
    <p:sldId id="537" r:id="rId5"/>
    <p:sldId id="511" r:id="rId6"/>
    <p:sldId id="563" r:id="rId7"/>
    <p:sldId id="540" r:id="rId8"/>
    <p:sldId id="538" r:id="rId9"/>
    <p:sldId id="281" r:id="rId10"/>
  </p:sldIdLst>
  <p:sldSz cx="12192000" cy="6858000"/>
  <p:notesSz cx="7315200" cy="12344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384" userDrawn="1">
          <p15:clr>
            <a:srgbClr val="A4A3A4"/>
          </p15:clr>
        </p15:guide>
        <p15:guide id="3" orient="horz" pos="3792" userDrawn="1">
          <p15:clr>
            <a:srgbClr val="A4A3A4"/>
          </p15:clr>
        </p15:guide>
        <p15:guide id="4" pos="959" userDrawn="1">
          <p15:clr>
            <a:srgbClr val="A4A3A4"/>
          </p15:clr>
        </p15:guide>
        <p15:guide id="5" pos="67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888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1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6" autoAdjust="0"/>
    <p:restoredTop sz="95494" autoAdjust="0"/>
  </p:normalViewPr>
  <p:slideViewPr>
    <p:cSldViewPr>
      <p:cViewPr varScale="1">
        <p:scale>
          <a:sx n="82" d="100"/>
          <a:sy n="82" d="100"/>
        </p:scale>
        <p:origin x="96" y="738"/>
      </p:cViewPr>
      <p:guideLst>
        <p:guide orient="horz" pos="2160"/>
        <p:guide orient="horz" pos="384"/>
        <p:guide orient="horz" pos="3792"/>
        <p:guide pos="959"/>
        <p:guide pos="672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398"/>
    </p:cViewPr>
  </p:sorterViewPr>
  <p:notesViewPr>
    <p:cSldViewPr showGuides="1">
      <p:cViewPr varScale="1">
        <p:scale>
          <a:sx n="85" d="100"/>
          <a:sy n="85" d="100"/>
        </p:scale>
        <p:origin x="4872" y="90"/>
      </p:cViewPr>
      <p:guideLst>
        <p:guide orient="horz" pos="3888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image" Target="../media/image2.png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15.pn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15.pn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15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image" Target="../media/image2.png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15.pn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15.pn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1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icon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18/5/colors/Iconchunking_neutralicon_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2">
        <a:alpha val="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/>
    </dgm:fillClrLst>
    <dgm:linClrLst meth="repeat">
      <a:schemeClr val="lt2">
        <a:alpha val="0"/>
      </a:schemeClr>
    </dgm:linClrLst>
    <dgm:effectClrLst/>
    <dgm:txLinClrLst/>
    <dgm:txFillClrLst/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B43D2C-83B0-47E3-AF1E-7584CCB560D7}" type="doc">
      <dgm:prSet loTypeId="urn:microsoft.com/office/officeart/2005/8/layout/default" loCatId="list" qsTypeId="urn:microsoft.com/office/officeart/2005/8/quickstyle/simple5" qsCatId="simple" csTypeId="urn:microsoft.com/office/officeart/2005/8/colors/accent0_2" csCatId="mainScheme" phldr="1"/>
      <dgm:spPr/>
      <dgm:t>
        <a:bodyPr/>
        <a:lstStyle/>
        <a:p>
          <a:endParaRPr lang="en-US"/>
        </a:p>
      </dgm:t>
    </dgm:pt>
    <dgm:pt modelId="{1DC36D7F-7DD4-4734-8A89-07920727DFE6}">
      <dgm:prSet/>
      <dgm:spPr/>
      <dgm:t>
        <a:bodyPr/>
        <a:lstStyle/>
        <a:p>
          <a:r>
            <a:rPr lang="en-US" b="1" dirty="0">
              <a:solidFill>
                <a:srgbClr val="005837"/>
              </a:solidFill>
            </a:rPr>
            <a:t>Public Finance Consulting Firm</a:t>
          </a:r>
        </a:p>
      </dgm:t>
    </dgm:pt>
    <dgm:pt modelId="{04BE42BC-BF58-4596-9CDF-49745F074DED}" type="parTrans" cxnId="{2A51366E-EE27-4955-8B7A-FFEFA5308E4F}">
      <dgm:prSet/>
      <dgm:spPr/>
      <dgm:t>
        <a:bodyPr/>
        <a:lstStyle/>
        <a:p>
          <a:endParaRPr lang="en-US" b="1"/>
        </a:p>
      </dgm:t>
    </dgm:pt>
    <dgm:pt modelId="{B648A689-5EFD-462E-97BB-C3D06E90BFDA}" type="sibTrans" cxnId="{2A51366E-EE27-4955-8B7A-FFEFA5308E4F}">
      <dgm:prSet/>
      <dgm:spPr/>
      <dgm:t>
        <a:bodyPr/>
        <a:lstStyle/>
        <a:p>
          <a:endParaRPr lang="en-US" b="1"/>
        </a:p>
      </dgm:t>
    </dgm:pt>
    <dgm:pt modelId="{BEE897E5-B7D6-4359-A48E-A82B7C41990F}">
      <dgm:prSet/>
      <dgm:spPr/>
      <dgm:t>
        <a:bodyPr/>
        <a:lstStyle/>
        <a:p>
          <a:r>
            <a:rPr lang="en-US" b="1" dirty="0">
              <a:solidFill>
                <a:srgbClr val="005837"/>
              </a:solidFill>
            </a:rPr>
            <a:t>Revenue Enhancement Mission</a:t>
          </a:r>
        </a:p>
      </dgm:t>
    </dgm:pt>
    <dgm:pt modelId="{92D6C68D-6F34-408F-A1CE-AC17667B8756}" type="parTrans" cxnId="{4D54BC09-89F1-42FB-8049-9D2EF5A2B60A}">
      <dgm:prSet/>
      <dgm:spPr/>
      <dgm:t>
        <a:bodyPr/>
        <a:lstStyle/>
        <a:p>
          <a:endParaRPr lang="en-US" b="1"/>
        </a:p>
      </dgm:t>
    </dgm:pt>
    <dgm:pt modelId="{2FEDDC3E-4172-49D4-A3EC-271E0734B561}" type="sibTrans" cxnId="{4D54BC09-89F1-42FB-8049-9D2EF5A2B60A}">
      <dgm:prSet/>
      <dgm:spPr/>
      <dgm:t>
        <a:bodyPr/>
        <a:lstStyle/>
        <a:p>
          <a:endParaRPr lang="en-US" b="1"/>
        </a:p>
      </dgm:t>
    </dgm:pt>
    <dgm:pt modelId="{5123722E-76D9-4A9F-A62A-35CBB3186271}">
      <dgm:prSet/>
      <dgm:spPr/>
      <dgm:t>
        <a:bodyPr/>
        <a:lstStyle/>
        <a:p>
          <a:r>
            <a:rPr lang="en-US" b="1" dirty="0">
              <a:solidFill>
                <a:srgbClr val="005837"/>
              </a:solidFill>
            </a:rPr>
            <a:t>Serving California Public Agencies for Over 40 Years</a:t>
          </a:r>
        </a:p>
      </dgm:t>
    </dgm:pt>
    <dgm:pt modelId="{F97DF301-B5FB-4D50-91F1-A3C139BA162E}" type="parTrans" cxnId="{754F527C-0EDF-455F-B397-5C0B9CDEDC8C}">
      <dgm:prSet/>
      <dgm:spPr/>
      <dgm:t>
        <a:bodyPr/>
        <a:lstStyle/>
        <a:p>
          <a:endParaRPr lang="en-US" b="1"/>
        </a:p>
      </dgm:t>
    </dgm:pt>
    <dgm:pt modelId="{D8CBAACF-1E8D-44DF-B8B9-4D708656693F}" type="sibTrans" cxnId="{754F527C-0EDF-455F-B397-5C0B9CDEDC8C}">
      <dgm:prSet/>
      <dgm:spPr/>
      <dgm:t>
        <a:bodyPr/>
        <a:lstStyle/>
        <a:p>
          <a:endParaRPr lang="en-US" b="1"/>
        </a:p>
      </dgm:t>
    </dgm:pt>
    <dgm:pt modelId="{C9E15288-7095-49B3-8408-3B91E3B1EC85}">
      <dgm:prSet/>
      <dgm:spPr/>
      <dgm:t>
        <a:bodyPr/>
        <a:lstStyle/>
        <a:p>
          <a:r>
            <a:rPr lang="en-US" b="1" dirty="0">
              <a:solidFill>
                <a:srgbClr val="005837"/>
              </a:solidFill>
            </a:rPr>
            <a:t>Serving Cameron Park CSD Since 2004</a:t>
          </a:r>
        </a:p>
      </dgm:t>
    </dgm:pt>
    <dgm:pt modelId="{69BE7384-7D65-43A5-B72D-41DD1862A44C}" type="parTrans" cxnId="{EED1B477-4ED3-499E-844F-6C6D47C038FB}">
      <dgm:prSet/>
      <dgm:spPr/>
      <dgm:t>
        <a:bodyPr/>
        <a:lstStyle/>
        <a:p>
          <a:endParaRPr lang="en-US" b="1"/>
        </a:p>
      </dgm:t>
    </dgm:pt>
    <dgm:pt modelId="{0D8376E4-AD9F-4A2F-8680-8F5329C0796E}" type="sibTrans" cxnId="{EED1B477-4ED3-499E-844F-6C6D47C038FB}">
      <dgm:prSet/>
      <dgm:spPr/>
      <dgm:t>
        <a:bodyPr/>
        <a:lstStyle/>
        <a:p>
          <a:endParaRPr lang="en-US" b="1"/>
        </a:p>
      </dgm:t>
    </dgm:pt>
    <dgm:pt modelId="{298F8D54-861D-4C31-8E31-7CC7EC551C48}">
      <dgm:prSet/>
      <dgm:spPr/>
      <dgm:t>
        <a:bodyPr/>
        <a:lstStyle/>
        <a:p>
          <a:r>
            <a:rPr lang="en-US" b="1" dirty="0">
              <a:solidFill>
                <a:srgbClr val="005837"/>
              </a:solidFill>
            </a:rPr>
            <a:t>Active CSDA, CARPD, and FDAC Members</a:t>
          </a:r>
        </a:p>
      </dgm:t>
    </dgm:pt>
    <dgm:pt modelId="{BC671205-8B48-4918-94F4-327284827C04}" type="parTrans" cxnId="{2DE1A511-07B0-4FE3-BC6E-4FE5A2EABF33}">
      <dgm:prSet/>
      <dgm:spPr/>
      <dgm:t>
        <a:bodyPr/>
        <a:lstStyle/>
        <a:p>
          <a:endParaRPr lang="en-US" b="1"/>
        </a:p>
      </dgm:t>
    </dgm:pt>
    <dgm:pt modelId="{40B495E4-D0EA-4579-A691-1AF7EAEA9F49}" type="sibTrans" cxnId="{2DE1A511-07B0-4FE3-BC6E-4FE5A2EABF33}">
      <dgm:prSet/>
      <dgm:spPr/>
      <dgm:t>
        <a:bodyPr/>
        <a:lstStyle/>
        <a:p>
          <a:endParaRPr lang="en-US" b="1"/>
        </a:p>
      </dgm:t>
    </dgm:pt>
    <dgm:pt modelId="{A9DF4546-357B-4B7D-B5AD-3873C8F7D6A3}">
      <dgm:prSet/>
      <dgm:spPr/>
      <dgm:t>
        <a:bodyPr/>
        <a:lstStyle/>
        <a:p>
          <a:r>
            <a:rPr lang="en-US" b="1" dirty="0">
              <a:solidFill>
                <a:srgbClr val="005837"/>
              </a:solidFill>
            </a:rPr>
            <a:t>Industry-Leading Expertise in Districtwide Local Funding Measures</a:t>
          </a:r>
        </a:p>
      </dgm:t>
    </dgm:pt>
    <dgm:pt modelId="{FB3F3F2C-C2F0-43B6-B949-6C85F22CEDF5}" type="parTrans" cxnId="{25B6AE3C-6B84-4801-A9BC-7AE643EA0F1E}">
      <dgm:prSet/>
      <dgm:spPr/>
      <dgm:t>
        <a:bodyPr/>
        <a:lstStyle/>
        <a:p>
          <a:endParaRPr lang="en-US"/>
        </a:p>
      </dgm:t>
    </dgm:pt>
    <dgm:pt modelId="{B1D83915-F15E-4964-BAD5-02B755F59532}" type="sibTrans" cxnId="{25B6AE3C-6B84-4801-A9BC-7AE643EA0F1E}">
      <dgm:prSet/>
      <dgm:spPr/>
      <dgm:t>
        <a:bodyPr/>
        <a:lstStyle/>
        <a:p>
          <a:endParaRPr lang="en-US"/>
        </a:p>
      </dgm:t>
    </dgm:pt>
    <dgm:pt modelId="{2227D385-06A8-47D6-B302-DA37E253C3C3}">
      <dgm:prSet/>
      <dgm:spPr/>
      <dgm:t>
        <a:bodyPr/>
        <a:lstStyle/>
        <a:p>
          <a:r>
            <a:rPr lang="en-US" b="1" dirty="0">
              <a:solidFill>
                <a:srgbClr val="005837"/>
              </a:solidFill>
            </a:rPr>
            <a:t>Located in Fairfield, CA</a:t>
          </a:r>
        </a:p>
      </dgm:t>
    </dgm:pt>
    <dgm:pt modelId="{73A1424C-2418-48E8-97DA-E42DD20D6D0A}" type="sibTrans" cxnId="{8DF94439-DC0D-4E62-BC44-86889F380D05}">
      <dgm:prSet/>
      <dgm:spPr/>
      <dgm:t>
        <a:bodyPr/>
        <a:lstStyle/>
        <a:p>
          <a:endParaRPr lang="en-US" b="1"/>
        </a:p>
      </dgm:t>
    </dgm:pt>
    <dgm:pt modelId="{87618AE3-3C87-4960-A937-485DE66E31E1}" type="parTrans" cxnId="{8DF94439-DC0D-4E62-BC44-86889F380D05}">
      <dgm:prSet/>
      <dgm:spPr/>
      <dgm:t>
        <a:bodyPr/>
        <a:lstStyle/>
        <a:p>
          <a:endParaRPr lang="en-US" b="1"/>
        </a:p>
      </dgm:t>
    </dgm:pt>
    <dgm:pt modelId="{6C7BAF40-2432-4447-9965-F78836A124AA}" type="pres">
      <dgm:prSet presAssocID="{07B43D2C-83B0-47E3-AF1E-7584CCB560D7}" presName="diagram" presStyleCnt="0">
        <dgm:presLayoutVars>
          <dgm:dir/>
          <dgm:resizeHandles val="exact"/>
        </dgm:presLayoutVars>
      </dgm:prSet>
      <dgm:spPr/>
    </dgm:pt>
    <dgm:pt modelId="{CD8F1FFD-2C1B-4247-BC47-C0CCEBBCE40F}" type="pres">
      <dgm:prSet presAssocID="{1DC36D7F-7DD4-4734-8A89-07920727DFE6}" presName="node" presStyleLbl="node1" presStyleIdx="0" presStyleCnt="7">
        <dgm:presLayoutVars>
          <dgm:bulletEnabled val="1"/>
        </dgm:presLayoutVars>
      </dgm:prSet>
      <dgm:spPr/>
    </dgm:pt>
    <dgm:pt modelId="{D4BC15D3-0341-4648-A918-0C026A3E1566}" type="pres">
      <dgm:prSet presAssocID="{B648A689-5EFD-462E-97BB-C3D06E90BFDA}" presName="sibTrans" presStyleCnt="0"/>
      <dgm:spPr/>
    </dgm:pt>
    <dgm:pt modelId="{37EB7A60-5755-432C-A470-BBD4CF6AD292}" type="pres">
      <dgm:prSet presAssocID="{5123722E-76D9-4A9F-A62A-35CBB3186271}" presName="node" presStyleLbl="node1" presStyleIdx="1" presStyleCnt="7">
        <dgm:presLayoutVars>
          <dgm:bulletEnabled val="1"/>
        </dgm:presLayoutVars>
      </dgm:prSet>
      <dgm:spPr/>
    </dgm:pt>
    <dgm:pt modelId="{03E04741-E08A-4C09-86E0-32449502EE71}" type="pres">
      <dgm:prSet presAssocID="{D8CBAACF-1E8D-44DF-B8B9-4D708656693F}" presName="sibTrans" presStyleCnt="0"/>
      <dgm:spPr/>
    </dgm:pt>
    <dgm:pt modelId="{AA0D0AC0-82E5-49DC-BCAF-0E81A3795E49}" type="pres">
      <dgm:prSet presAssocID="{C9E15288-7095-49B3-8408-3B91E3B1EC85}" presName="node" presStyleLbl="node1" presStyleIdx="2" presStyleCnt="7">
        <dgm:presLayoutVars>
          <dgm:bulletEnabled val="1"/>
        </dgm:presLayoutVars>
      </dgm:prSet>
      <dgm:spPr/>
    </dgm:pt>
    <dgm:pt modelId="{F1AF0F9E-3AF7-47A2-B791-EFBCB3B68F1F}" type="pres">
      <dgm:prSet presAssocID="{0D8376E4-AD9F-4A2F-8680-8F5329C0796E}" presName="sibTrans" presStyleCnt="0"/>
      <dgm:spPr/>
    </dgm:pt>
    <dgm:pt modelId="{DD56AD49-CB60-4A29-8CA0-52A5D22B17A1}" type="pres">
      <dgm:prSet presAssocID="{2227D385-06A8-47D6-B302-DA37E253C3C3}" presName="node" presStyleLbl="node1" presStyleIdx="3" presStyleCnt="7">
        <dgm:presLayoutVars>
          <dgm:bulletEnabled val="1"/>
        </dgm:presLayoutVars>
      </dgm:prSet>
      <dgm:spPr/>
    </dgm:pt>
    <dgm:pt modelId="{762656F2-C475-47B3-86DC-743DD13D371B}" type="pres">
      <dgm:prSet presAssocID="{73A1424C-2418-48E8-97DA-E42DD20D6D0A}" presName="sibTrans" presStyleCnt="0"/>
      <dgm:spPr/>
    </dgm:pt>
    <dgm:pt modelId="{3E944597-377A-49B7-A3EB-45705C14C082}" type="pres">
      <dgm:prSet presAssocID="{BEE897E5-B7D6-4359-A48E-A82B7C41990F}" presName="node" presStyleLbl="node1" presStyleIdx="4" presStyleCnt="7">
        <dgm:presLayoutVars>
          <dgm:bulletEnabled val="1"/>
        </dgm:presLayoutVars>
      </dgm:prSet>
      <dgm:spPr/>
    </dgm:pt>
    <dgm:pt modelId="{FB2DDEE8-5F4C-46EF-91FA-BA81485E685F}" type="pres">
      <dgm:prSet presAssocID="{2FEDDC3E-4172-49D4-A3EC-271E0734B561}" presName="sibTrans" presStyleCnt="0"/>
      <dgm:spPr/>
    </dgm:pt>
    <dgm:pt modelId="{CFB01A84-AFAB-42EC-81E3-57A5E4B475EA}" type="pres">
      <dgm:prSet presAssocID="{A9DF4546-357B-4B7D-B5AD-3873C8F7D6A3}" presName="node" presStyleLbl="node1" presStyleIdx="5" presStyleCnt="7">
        <dgm:presLayoutVars>
          <dgm:bulletEnabled val="1"/>
        </dgm:presLayoutVars>
      </dgm:prSet>
      <dgm:spPr/>
    </dgm:pt>
    <dgm:pt modelId="{97D3FF7B-B8DD-4CE9-BA57-57F0AC7171CC}" type="pres">
      <dgm:prSet presAssocID="{B1D83915-F15E-4964-BAD5-02B755F59532}" presName="sibTrans" presStyleCnt="0"/>
      <dgm:spPr/>
    </dgm:pt>
    <dgm:pt modelId="{6D67F3DC-6F00-4D46-8E18-2273E6B8FDC6}" type="pres">
      <dgm:prSet presAssocID="{298F8D54-861D-4C31-8E31-7CC7EC551C48}" presName="node" presStyleLbl="node1" presStyleIdx="6" presStyleCnt="7" custLinFactNeighborX="-357" custLinFactNeighborY="-7">
        <dgm:presLayoutVars>
          <dgm:bulletEnabled val="1"/>
        </dgm:presLayoutVars>
      </dgm:prSet>
      <dgm:spPr/>
    </dgm:pt>
  </dgm:ptLst>
  <dgm:cxnLst>
    <dgm:cxn modelId="{4D54BC09-89F1-42FB-8049-9D2EF5A2B60A}" srcId="{07B43D2C-83B0-47E3-AF1E-7584CCB560D7}" destId="{BEE897E5-B7D6-4359-A48E-A82B7C41990F}" srcOrd="4" destOrd="0" parTransId="{92D6C68D-6F34-408F-A1CE-AC17667B8756}" sibTransId="{2FEDDC3E-4172-49D4-A3EC-271E0734B561}"/>
    <dgm:cxn modelId="{2DE1A511-07B0-4FE3-BC6E-4FE5A2EABF33}" srcId="{07B43D2C-83B0-47E3-AF1E-7584CCB560D7}" destId="{298F8D54-861D-4C31-8E31-7CC7EC551C48}" srcOrd="6" destOrd="0" parTransId="{BC671205-8B48-4918-94F4-327284827C04}" sibTransId="{40B495E4-D0EA-4579-A691-1AF7EAEA9F49}"/>
    <dgm:cxn modelId="{E5F0C211-373B-4E3F-8BF7-E3EB9AC10E81}" type="presOf" srcId="{298F8D54-861D-4C31-8E31-7CC7EC551C48}" destId="{6D67F3DC-6F00-4D46-8E18-2273E6B8FDC6}" srcOrd="0" destOrd="0" presId="urn:microsoft.com/office/officeart/2005/8/layout/default"/>
    <dgm:cxn modelId="{8DF94439-DC0D-4E62-BC44-86889F380D05}" srcId="{07B43D2C-83B0-47E3-AF1E-7584CCB560D7}" destId="{2227D385-06A8-47D6-B302-DA37E253C3C3}" srcOrd="3" destOrd="0" parTransId="{87618AE3-3C87-4960-A937-485DE66E31E1}" sibTransId="{73A1424C-2418-48E8-97DA-E42DD20D6D0A}"/>
    <dgm:cxn modelId="{25B6AE3C-6B84-4801-A9BC-7AE643EA0F1E}" srcId="{07B43D2C-83B0-47E3-AF1E-7584CCB560D7}" destId="{A9DF4546-357B-4B7D-B5AD-3873C8F7D6A3}" srcOrd="5" destOrd="0" parTransId="{FB3F3F2C-C2F0-43B6-B949-6C85F22CEDF5}" sibTransId="{B1D83915-F15E-4964-BAD5-02B755F59532}"/>
    <dgm:cxn modelId="{2E95066B-13CF-42A0-82C3-917D1DA1681C}" type="presOf" srcId="{2227D385-06A8-47D6-B302-DA37E253C3C3}" destId="{DD56AD49-CB60-4A29-8CA0-52A5D22B17A1}" srcOrd="0" destOrd="0" presId="urn:microsoft.com/office/officeart/2005/8/layout/default"/>
    <dgm:cxn modelId="{2A51366E-EE27-4955-8B7A-FFEFA5308E4F}" srcId="{07B43D2C-83B0-47E3-AF1E-7584CCB560D7}" destId="{1DC36D7F-7DD4-4734-8A89-07920727DFE6}" srcOrd="0" destOrd="0" parTransId="{04BE42BC-BF58-4596-9CDF-49745F074DED}" sibTransId="{B648A689-5EFD-462E-97BB-C3D06E90BFDA}"/>
    <dgm:cxn modelId="{EED1B477-4ED3-499E-844F-6C6D47C038FB}" srcId="{07B43D2C-83B0-47E3-AF1E-7584CCB560D7}" destId="{C9E15288-7095-49B3-8408-3B91E3B1EC85}" srcOrd="2" destOrd="0" parTransId="{69BE7384-7D65-43A5-B72D-41DD1862A44C}" sibTransId="{0D8376E4-AD9F-4A2F-8680-8F5329C0796E}"/>
    <dgm:cxn modelId="{754F527C-0EDF-455F-B397-5C0B9CDEDC8C}" srcId="{07B43D2C-83B0-47E3-AF1E-7584CCB560D7}" destId="{5123722E-76D9-4A9F-A62A-35CBB3186271}" srcOrd="1" destOrd="0" parTransId="{F97DF301-B5FB-4D50-91F1-A3C139BA162E}" sibTransId="{D8CBAACF-1E8D-44DF-B8B9-4D708656693F}"/>
    <dgm:cxn modelId="{2A1CA985-D3D0-4F2C-B565-1E9B5E1817CD}" type="presOf" srcId="{A9DF4546-357B-4B7D-B5AD-3873C8F7D6A3}" destId="{CFB01A84-AFAB-42EC-81E3-57A5E4B475EA}" srcOrd="0" destOrd="0" presId="urn:microsoft.com/office/officeart/2005/8/layout/default"/>
    <dgm:cxn modelId="{18D42E8D-CEBC-443E-8507-B442BDA6C03C}" type="presOf" srcId="{1DC36D7F-7DD4-4734-8A89-07920727DFE6}" destId="{CD8F1FFD-2C1B-4247-BC47-C0CCEBBCE40F}" srcOrd="0" destOrd="0" presId="urn:microsoft.com/office/officeart/2005/8/layout/default"/>
    <dgm:cxn modelId="{6DBE039B-EEA2-4E3B-89DE-2870ED6D78A2}" type="presOf" srcId="{C9E15288-7095-49B3-8408-3B91E3B1EC85}" destId="{AA0D0AC0-82E5-49DC-BCAF-0E81A3795E49}" srcOrd="0" destOrd="0" presId="urn:microsoft.com/office/officeart/2005/8/layout/default"/>
    <dgm:cxn modelId="{594304AC-4D7F-41E7-83DD-2F44F0C49EB2}" type="presOf" srcId="{BEE897E5-B7D6-4359-A48E-A82B7C41990F}" destId="{3E944597-377A-49B7-A3EB-45705C14C082}" srcOrd="0" destOrd="0" presId="urn:microsoft.com/office/officeart/2005/8/layout/default"/>
    <dgm:cxn modelId="{9F858DC2-0D8B-4264-BC6E-58C36F5F3DDB}" type="presOf" srcId="{07B43D2C-83B0-47E3-AF1E-7584CCB560D7}" destId="{6C7BAF40-2432-4447-9965-F78836A124AA}" srcOrd="0" destOrd="0" presId="urn:microsoft.com/office/officeart/2005/8/layout/default"/>
    <dgm:cxn modelId="{F00EB4CA-CDB7-4F62-8983-2EF008A02892}" type="presOf" srcId="{5123722E-76D9-4A9F-A62A-35CBB3186271}" destId="{37EB7A60-5755-432C-A470-BBD4CF6AD292}" srcOrd="0" destOrd="0" presId="urn:microsoft.com/office/officeart/2005/8/layout/default"/>
    <dgm:cxn modelId="{B767D0F5-2504-4FFD-BE3B-E368D340C02E}" type="presParOf" srcId="{6C7BAF40-2432-4447-9965-F78836A124AA}" destId="{CD8F1FFD-2C1B-4247-BC47-C0CCEBBCE40F}" srcOrd="0" destOrd="0" presId="urn:microsoft.com/office/officeart/2005/8/layout/default"/>
    <dgm:cxn modelId="{C6BB4FB9-0D8B-4EAD-9F7F-F562B91BDB19}" type="presParOf" srcId="{6C7BAF40-2432-4447-9965-F78836A124AA}" destId="{D4BC15D3-0341-4648-A918-0C026A3E1566}" srcOrd="1" destOrd="0" presId="urn:microsoft.com/office/officeart/2005/8/layout/default"/>
    <dgm:cxn modelId="{6644FC6E-39FF-427A-879E-7CF14CDBE63C}" type="presParOf" srcId="{6C7BAF40-2432-4447-9965-F78836A124AA}" destId="{37EB7A60-5755-432C-A470-BBD4CF6AD292}" srcOrd="2" destOrd="0" presId="urn:microsoft.com/office/officeart/2005/8/layout/default"/>
    <dgm:cxn modelId="{A6F0C553-7633-431B-B37E-4147DD36B3BB}" type="presParOf" srcId="{6C7BAF40-2432-4447-9965-F78836A124AA}" destId="{03E04741-E08A-4C09-86E0-32449502EE71}" srcOrd="3" destOrd="0" presId="urn:microsoft.com/office/officeart/2005/8/layout/default"/>
    <dgm:cxn modelId="{5F37962B-AF9B-4EB4-9DA9-BEB9185FFFB2}" type="presParOf" srcId="{6C7BAF40-2432-4447-9965-F78836A124AA}" destId="{AA0D0AC0-82E5-49DC-BCAF-0E81A3795E49}" srcOrd="4" destOrd="0" presId="urn:microsoft.com/office/officeart/2005/8/layout/default"/>
    <dgm:cxn modelId="{5E7468A6-34BB-4D59-9E04-3CF18095D8DD}" type="presParOf" srcId="{6C7BAF40-2432-4447-9965-F78836A124AA}" destId="{F1AF0F9E-3AF7-47A2-B791-EFBCB3B68F1F}" srcOrd="5" destOrd="0" presId="urn:microsoft.com/office/officeart/2005/8/layout/default"/>
    <dgm:cxn modelId="{3DC96708-F9E9-406F-9EE8-81C869966A59}" type="presParOf" srcId="{6C7BAF40-2432-4447-9965-F78836A124AA}" destId="{DD56AD49-CB60-4A29-8CA0-52A5D22B17A1}" srcOrd="6" destOrd="0" presId="urn:microsoft.com/office/officeart/2005/8/layout/default"/>
    <dgm:cxn modelId="{E9D1FF72-2261-42CF-B1D6-83A558D932A5}" type="presParOf" srcId="{6C7BAF40-2432-4447-9965-F78836A124AA}" destId="{762656F2-C475-47B3-86DC-743DD13D371B}" srcOrd="7" destOrd="0" presId="urn:microsoft.com/office/officeart/2005/8/layout/default"/>
    <dgm:cxn modelId="{D5759DD8-F38F-4BA3-AA34-7B1277B8A488}" type="presParOf" srcId="{6C7BAF40-2432-4447-9965-F78836A124AA}" destId="{3E944597-377A-49B7-A3EB-45705C14C082}" srcOrd="8" destOrd="0" presId="urn:microsoft.com/office/officeart/2005/8/layout/default"/>
    <dgm:cxn modelId="{C7B012FF-A6C0-4C77-84CD-5D0CB7948DA3}" type="presParOf" srcId="{6C7BAF40-2432-4447-9965-F78836A124AA}" destId="{FB2DDEE8-5F4C-46EF-91FA-BA81485E685F}" srcOrd="9" destOrd="0" presId="urn:microsoft.com/office/officeart/2005/8/layout/default"/>
    <dgm:cxn modelId="{D2F33E15-C86F-4679-BB52-84EA3DF55996}" type="presParOf" srcId="{6C7BAF40-2432-4447-9965-F78836A124AA}" destId="{CFB01A84-AFAB-42EC-81E3-57A5E4B475EA}" srcOrd="10" destOrd="0" presId="urn:microsoft.com/office/officeart/2005/8/layout/default"/>
    <dgm:cxn modelId="{962A2AC3-F3B3-4C8A-8810-A31AB4BE8B68}" type="presParOf" srcId="{6C7BAF40-2432-4447-9965-F78836A124AA}" destId="{97D3FF7B-B8DD-4CE9-BA57-57F0AC7171CC}" srcOrd="11" destOrd="0" presId="urn:microsoft.com/office/officeart/2005/8/layout/default"/>
    <dgm:cxn modelId="{B3BE1C7F-F4BB-43C0-8942-D7F18F3F49C1}" type="presParOf" srcId="{6C7BAF40-2432-4447-9965-F78836A124AA}" destId="{6D67F3DC-6F00-4D46-8E18-2273E6B8FDC6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0D0A0EF-20D0-49D0-B43A-A668B22AB8A7}" type="doc">
      <dgm:prSet loTypeId="urn:microsoft.com/office/officeart/2018/2/layout/IconCircleList" loCatId="icon" qsTypeId="urn:microsoft.com/office/officeart/2005/8/quickstyle/simple1" qsCatId="simple" csTypeId="urn:microsoft.com/office/officeart/2018/5/colors/Iconchunking_neutralicon_colorful1" csCatId="colorful" phldr="1"/>
      <dgm:spPr/>
      <dgm:t>
        <a:bodyPr/>
        <a:lstStyle/>
        <a:p>
          <a:endParaRPr lang="en-US"/>
        </a:p>
      </dgm:t>
    </dgm:pt>
    <dgm:pt modelId="{35977747-656F-462E-8BE8-4BF14ED196D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800" b="1" dirty="0"/>
            <a:t>3</a:t>
          </a:r>
          <a:r>
            <a:rPr lang="en-US" sz="2800" dirty="0"/>
            <a:t> Revenue Enhancement Hurdles</a:t>
          </a:r>
        </a:p>
      </dgm:t>
    </dgm:pt>
    <dgm:pt modelId="{5F2A6BDB-426B-4AA4-AC1B-CC3E513D3B88}" type="parTrans" cxnId="{3D7FF4E4-FB00-4DBB-BEBB-DE6FAC1A576A}">
      <dgm:prSet/>
      <dgm:spPr/>
      <dgm:t>
        <a:bodyPr/>
        <a:lstStyle/>
        <a:p>
          <a:endParaRPr lang="en-US"/>
        </a:p>
      </dgm:t>
    </dgm:pt>
    <dgm:pt modelId="{B604D55F-323F-4CFB-8B99-3DF2334605AC}" type="sibTrans" cxnId="{3D7FF4E4-FB00-4DBB-BEBB-DE6FAC1A576A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371F5469-9A5C-4CB2-B46A-CCD048B9174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800" b="1" dirty="0"/>
            <a:t>3</a:t>
          </a:r>
          <a:r>
            <a:rPr lang="en-US" sz="2800" dirty="0"/>
            <a:t> Local Funding  Measures</a:t>
          </a:r>
        </a:p>
      </dgm:t>
    </dgm:pt>
    <dgm:pt modelId="{B62761F3-70D7-4A15-90FF-2B8A5805BFD4}" type="parTrans" cxnId="{CC18C55E-6DD2-4FD1-9B0B-782F74C3EE5E}">
      <dgm:prSet/>
      <dgm:spPr/>
      <dgm:t>
        <a:bodyPr/>
        <a:lstStyle/>
        <a:p>
          <a:endParaRPr lang="en-US"/>
        </a:p>
      </dgm:t>
    </dgm:pt>
    <dgm:pt modelId="{A172E19D-3587-458D-84C5-A6456C6847BE}" type="sibTrans" cxnId="{CC18C55E-6DD2-4FD1-9B0B-782F74C3EE5E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9C2D08BF-C02B-4476-A738-7C34D63099C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800" b="1"/>
            <a:t>1</a:t>
          </a:r>
          <a:r>
            <a:rPr lang="en-US" sz="2800"/>
            <a:t> Process</a:t>
          </a:r>
          <a:endParaRPr lang="en-US" sz="2800" dirty="0"/>
        </a:p>
      </dgm:t>
    </dgm:pt>
    <dgm:pt modelId="{FE28B30B-5F7D-44A4-AB90-E22FF33990F4}" type="parTrans" cxnId="{2E63E759-92EB-4EA9-9F4A-8F6F82B00C89}">
      <dgm:prSet/>
      <dgm:spPr/>
      <dgm:t>
        <a:bodyPr/>
        <a:lstStyle/>
        <a:p>
          <a:endParaRPr lang="en-US"/>
        </a:p>
      </dgm:t>
    </dgm:pt>
    <dgm:pt modelId="{71076D0B-4406-4D37-9BA7-FFDC5EFFF7A4}" type="sibTrans" cxnId="{2E63E759-92EB-4EA9-9F4A-8F6F82B00C89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F46DEA03-4CE8-4A89-BAC3-BE7A391C417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800"/>
            <a:t>Questions</a:t>
          </a:r>
          <a:endParaRPr lang="en-US" sz="2800" dirty="0"/>
        </a:p>
      </dgm:t>
    </dgm:pt>
    <dgm:pt modelId="{6656CFC3-2989-4889-A816-B3E42D957991}" type="parTrans" cxnId="{43BEE71A-59EF-480F-80AF-607B5B577C99}">
      <dgm:prSet/>
      <dgm:spPr/>
      <dgm:t>
        <a:bodyPr/>
        <a:lstStyle/>
        <a:p>
          <a:endParaRPr lang="en-US"/>
        </a:p>
      </dgm:t>
    </dgm:pt>
    <dgm:pt modelId="{74A63134-64C2-482C-8138-A1D22D78BAC6}" type="sibTrans" cxnId="{43BEE71A-59EF-480F-80AF-607B5B577C99}">
      <dgm:prSet/>
      <dgm:spPr/>
      <dgm:t>
        <a:bodyPr/>
        <a:lstStyle/>
        <a:p>
          <a:endParaRPr lang="en-US"/>
        </a:p>
      </dgm:t>
    </dgm:pt>
    <dgm:pt modelId="{7956FC60-BBD6-48B3-90D7-50A8083B213A}" type="pres">
      <dgm:prSet presAssocID="{60D0A0EF-20D0-49D0-B43A-A668B22AB8A7}" presName="root" presStyleCnt="0">
        <dgm:presLayoutVars>
          <dgm:dir/>
          <dgm:resizeHandles val="exact"/>
        </dgm:presLayoutVars>
      </dgm:prSet>
      <dgm:spPr/>
    </dgm:pt>
    <dgm:pt modelId="{49E0290D-1DD8-4D2D-9011-7AA50EAABCE6}" type="pres">
      <dgm:prSet presAssocID="{60D0A0EF-20D0-49D0-B43A-A668B22AB8A7}" presName="container" presStyleCnt="0">
        <dgm:presLayoutVars>
          <dgm:dir/>
          <dgm:resizeHandles val="exact"/>
        </dgm:presLayoutVars>
      </dgm:prSet>
      <dgm:spPr/>
    </dgm:pt>
    <dgm:pt modelId="{7EAB329B-7918-4C6B-A663-1AC86ABBE717}" type="pres">
      <dgm:prSet presAssocID="{371F5469-9A5C-4CB2-B46A-CCD048B91742}" presName="compNode" presStyleCnt="0"/>
      <dgm:spPr/>
    </dgm:pt>
    <dgm:pt modelId="{F50D884A-7A2D-4549-8389-3FF1100DA63F}" type="pres">
      <dgm:prSet presAssocID="{371F5469-9A5C-4CB2-B46A-CCD048B91742}" presName="iconBgRect" presStyleLbl="bgShp" presStyleIdx="0" presStyleCnt="4"/>
      <dgm:spPr>
        <a:solidFill>
          <a:schemeClr val="bg1"/>
        </a:solidFill>
      </dgm:spPr>
    </dgm:pt>
    <dgm:pt modelId="{4380B165-B673-4F19-A3B3-F0DA7587AFF0}" type="pres">
      <dgm:prSet presAssocID="{371F5469-9A5C-4CB2-B46A-CCD048B91742}" presName="iconRect" presStyleLbl="node1" presStyleIdx="0" presStyleCnt="4" custScaleX="172751" custScaleY="172751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>
          <a:noFill/>
        </a:ln>
      </dgm:spPr>
    </dgm:pt>
    <dgm:pt modelId="{5FFE0959-75A9-43B2-8CF1-B09854660F47}" type="pres">
      <dgm:prSet presAssocID="{371F5469-9A5C-4CB2-B46A-CCD048B91742}" presName="spaceRect" presStyleCnt="0"/>
      <dgm:spPr/>
    </dgm:pt>
    <dgm:pt modelId="{EC00CB89-B37C-46FB-9D51-DE4623609988}" type="pres">
      <dgm:prSet presAssocID="{371F5469-9A5C-4CB2-B46A-CCD048B91742}" presName="textRect" presStyleLbl="revTx" presStyleIdx="0" presStyleCnt="4">
        <dgm:presLayoutVars>
          <dgm:chMax val="1"/>
          <dgm:chPref val="1"/>
        </dgm:presLayoutVars>
      </dgm:prSet>
      <dgm:spPr/>
    </dgm:pt>
    <dgm:pt modelId="{E38231B7-8046-443A-973B-A6DD093A1899}" type="pres">
      <dgm:prSet presAssocID="{A172E19D-3587-458D-84C5-A6456C6847BE}" presName="sibTrans" presStyleLbl="sibTrans2D1" presStyleIdx="0" presStyleCnt="0"/>
      <dgm:spPr/>
    </dgm:pt>
    <dgm:pt modelId="{A5730D77-E080-4FE3-B7C8-E52115ECEB1E}" type="pres">
      <dgm:prSet presAssocID="{35977747-656F-462E-8BE8-4BF14ED196D8}" presName="compNode" presStyleCnt="0"/>
      <dgm:spPr/>
    </dgm:pt>
    <dgm:pt modelId="{DC977654-D3C0-4204-892B-F6648EAA6391}" type="pres">
      <dgm:prSet presAssocID="{35977747-656F-462E-8BE8-4BF14ED196D8}" presName="iconBgRect" presStyleLbl="bgShp" presStyleIdx="1" presStyleCnt="4"/>
      <dgm:spPr/>
    </dgm:pt>
    <dgm:pt modelId="{B2EBE400-2D11-4459-B763-EF051D5A4AF1}" type="pres">
      <dgm:prSet presAssocID="{35977747-656F-462E-8BE8-4BF14ED196D8}" presName="iconRect" presStyleLbl="nod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82634914-C1B4-4AA0-8293-1A0559A40702}" type="pres">
      <dgm:prSet presAssocID="{35977747-656F-462E-8BE8-4BF14ED196D8}" presName="spaceRect" presStyleCnt="0"/>
      <dgm:spPr/>
    </dgm:pt>
    <dgm:pt modelId="{EDF6D0E1-3E49-400A-AD20-B63676F891D1}" type="pres">
      <dgm:prSet presAssocID="{35977747-656F-462E-8BE8-4BF14ED196D8}" presName="textRect" presStyleLbl="revTx" presStyleIdx="1" presStyleCnt="4">
        <dgm:presLayoutVars>
          <dgm:chMax val="1"/>
          <dgm:chPref val="1"/>
        </dgm:presLayoutVars>
      </dgm:prSet>
      <dgm:spPr/>
    </dgm:pt>
    <dgm:pt modelId="{C2A2BC45-5823-4A15-8259-3208C06ACD42}" type="pres">
      <dgm:prSet presAssocID="{B604D55F-323F-4CFB-8B99-3DF2334605AC}" presName="sibTrans" presStyleLbl="sibTrans2D1" presStyleIdx="0" presStyleCnt="0"/>
      <dgm:spPr/>
    </dgm:pt>
    <dgm:pt modelId="{430C013E-7E97-4ADD-8FFE-7F1664823F63}" type="pres">
      <dgm:prSet presAssocID="{9C2D08BF-C02B-4476-A738-7C34D63099CB}" presName="compNode" presStyleCnt="0"/>
      <dgm:spPr/>
    </dgm:pt>
    <dgm:pt modelId="{5C5E8020-AE73-45E5-A35A-415C032933E4}" type="pres">
      <dgm:prSet presAssocID="{9C2D08BF-C02B-4476-A738-7C34D63099CB}" presName="iconBgRect" presStyleLbl="bgShp" presStyleIdx="2" presStyleCnt="4"/>
      <dgm:spPr/>
    </dgm:pt>
    <dgm:pt modelId="{091FC913-BDEF-4D44-8353-9FB2576F0FDA}" type="pres">
      <dgm:prSet presAssocID="{9C2D08BF-C02B-4476-A738-7C34D63099CB}" presName="iconRect" presStyleLbl="node1" presStyleIdx="2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list"/>
        </a:ext>
      </dgm:extLst>
    </dgm:pt>
    <dgm:pt modelId="{54129AF0-A5E2-4DF8-A577-5E26F29AE470}" type="pres">
      <dgm:prSet presAssocID="{9C2D08BF-C02B-4476-A738-7C34D63099CB}" presName="spaceRect" presStyleCnt="0"/>
      <dgm:spPr/>
    </dgm:pt>
    <dgm:pt modelId="{9751C91F-F57A-420C-8FEE-32A918488903}" type="pres">
      <dgm:prSet presAssocID="{9C2D08BF-C02B-4476-A738-7C34D63099CB}" presName="textRect" presStyleLbl="revTx" presStyleIdx="2" presStyleCnt="4">
        <dgm:presLayoutVars>
          <dgm:chMax val="1"/>
          <dgm:chPref val="1"/>
        </dgm:presLayoutVars>
      </dgm:prSet>
      <dgm:spPr/>
    </dgm:pt>
    <dgm:pt modelId="{96E9F002-1531-4F2E-B7B6-92B6EE788706}" type="pres">
      <dgm:prSet presAssocID="{71076D0B-4406-4D37-9BA7-FFDC5EFFF7A4}" presName="sibTrans" presStyleLbl="sibTrans2D1" presStyleIdx="0" presStyleCnt="0"/>
      <dgm:spPr/>
    </dgm:pt>
    <dgm:pt modelId="{ADE8EA0B-ACF9-49C2-B084-F04654EF4712}" type="pres">
      <dgm:prSet presAssocID="{F46DEA03-4CE8-4A89-BAC3-BE7A391C4172}" presName="compNode" presStyleCnt="0"/>
      <dgm:spPr/>
    </dgm:pt>
    <dgm:pt modelId="{1F05ABD4-DAC1-487A-A0CC-2482A88393AA}" type="pres">
      <dgm:prSet presAssocID="{F46DEA03-4CE8-4A89-BAC3-BE7A391C4172}" presName="iconBgRect" presStyleLbl="bgShp" presStyleIdx="3" presStyleCnt="4"/>
      <dgm:spPr/>
    </dgm:pt>
    <dgm:pt modelId="{8CC9D518-0EF7-44E2-8430-A4D6A1EF8499}" type="pres">
      <dgm:prSet presAssocID="{F46DEA03-4CE8-4A89-BAC3-BE7A391C4172}" presName="iconRect" presStyleLbl="node1" presStyleIdx="3" presStyleCnt="4"/>
      <dgm:spPr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lp"/>
        </a:ext>
      </dgm:extLst>
    </dgm:pt>
    <dgm:pt modelId="{E9EB1BAA-2D53-41F3-AC13-8C5C142B4167}" type="pres">
      <dgm:prSet presAssocID="{F46DEA03-4CE8-4A89-BAC3-BE7A391C4172}" presName="spaceRect" presStyleCnt="0"/>
      <dgm:spPr/>
    </dgm:pt>
    <dgm:pt modelId="{FBFACBD3-1EF3-45B3-A171-31C8766EF3EE}" type="pres">
      <dgm:prSet presAssocID="{F46DEA03-4CE8-4A89-BAC3-BE7A391C4172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43BEE71A-59EF-480F-80AF-607B5B577C99}" srcId="{60D0A0EF-20D0-49D0-B43A-A668B22AB8A7}" destId="{F46DEA03-4CE8-4A89-BAC3-BE7A391C4172}" srcOrd="3" destOrd="0" parTransId="{6656CFC3-2989-4889-A816-B3E42D957991}" sibTransId="{74A63134-64C2-482C-8138-A1D22D78BAC6}"/>
    <dgm:cxn modelId="{B3811423-6F52-4C00-B4F7-C9497BB462CD}" type="presOf" srcId="{71076D0B-4406-4D37-9BA7-FFDC5EFFF7A4}" destId="{96E9F002-1531-4F2E-B7B6-92B6EE788706}" srcOrd="0" destOrd="0" presId="urn:microsoft.com/office/officeart/2018/2/layout/IconCircleList"/>
    <dgm:cxn modelId="{61C7D32C-0B6A-4B47-8C12-F62D0C6A98F0}" type="presOf" srcId="{A172E19D-3587-458D-84C5-A6456C6847BE}" destId="{E38231B7-8046-443A-973B-A6DD093A1899}" srcOrd="0" destOrd="0" presId="urn:microsoft.com/office/officeart/2018/2/layout/IconCircleList"/>
    <dgm:cxn modelId="{CC18C55E-6DD2-4FD1-9B0B-782F74C3EE5E}" srcId="{60D0A0EF-20D0-49D0-B43A-A668B22AB8A7}" destId="{371F5469-9A5C-4CB2-B46A-CCD048B91742}" srcOrd="0" destOrd="0" parTransId="{B62761F3-70D7-4A15-90FF-2B8A5805BFD4}" sibTransId="{A172E19D-3587-458D-84C5-A6456C6847BE}"/>
    <dgm:cxn modelId="{596D1C44-A51A-49EF-9D12-160CA74435EC}" type="presOf" srcId="{9C2D08BF-C02B-4476-A738-7C34D63099CB}" destId="{9751C91F-F57A-420C-8FEE-32A918488903}" srcOrd="0" destOrd="0" presId="urn:microsoft.com/office/officeart/2018/2/layout/IconCircleList"/>
    <dgm:cxn modelId="{15E2336C-CFD5-4140-B66E-2A5A287D1958}" type="presOf" srcId="{60D0A0EF-20D0-49D0-B43A-A668B22AB8A7}" destId="{7956FC60-BBD6-48B3-90D7-50A8083B213A}" srcOrd="0" destOrd="0" presId="urn:microsoft.com/office/officeart/2018/2/layout/IconCircleList"/>
    <dgm:cxn modelId="{2E63E759-92EB-4EA9-9F4A-8F6F82B00C89}" srcId="{60D0A0EF-20D0-49D0-B43A-A668B22AB8A7}" destId="{9C2D08BF-C02B-4476-A738-7C34D63099CB}" srcOrd="2" destOrd="0" parTransId="{FE28B30B-5F7D-44A4-AB90-E22FF33990F4}" sibTransId="{71076D0B-4406-4D37-9BA7-FFDC5EFFF7A4}"/>
    <dgm:cxn modelId="{0E2087AA-710B-4080-92BA-D24232281EF1}" type="presOf" srcId="{F46DEA03-4CE8-4A89-BAC3-BE7A391C4172}" destId="{FBFACBD3-1EF3-45B3-A171-31C8766EF3EE}" srcOrd="0" destOrd="0" presId="urn:microsoft.com/office/officeart/2018/2/layout/IconCircleList"/>
    <dgm:cxn modelId="{D2EAC6CE-1519-4595-BB2B-CADEF5BA2212}" type="presOf" srcId="{371F5469-9A5C-4CB2-B46A-CCD048B91742}" destId="{EC00CB89-B37C-46FB-9D51-DE4623609988}" srcOrd="0" destOrd="0" presId="urn:microsoft.com/office/officeart/2018/2/layout/IconCircleList"/>
    <dgm:cxn modelId="{3D7FF4E4-FB00-4DBB-BEBB-DE6FAC1A576A}" srcId="{60D0A0EF-20D0-49D0-B43A-A668B22AB8A7}" destId="{35977747-656F-462E-8BE8-4BF14ED196D8}" srcOrd="1" destOrd="0" parTransId="{5F2A6BDB-426B-4AA4-AC1B-CC3E513D3B88}" sibTransId="{B604D55F-323F-4CFB-8B99-3DF2334605AC}"/>
    <dgm:cxn modelId="{C5B4ACE5-5D12-4E03-87D6-91598C437EDA}" type="presOf" srcId="{B604D55F-323F-4CFB-8B99-3DF2334605AC}" destId="{C2A2BC45-5823-4A15-8259-3208C06ACD42}" srcOrd="0" destOrd="0" presId="urn:microsoft.com/office/officeart/2018/2/layout/IconCircleList"/>
    <dgm:cxn modelId="{DFB97FF0-8645-46F0-95E4-E86FA940B9D8}" type="presOf" srcId="{35977747-656F-462E-8BE8-4BF14ED196D8}" destId="{EDF6D0E1-3E49-400A-AD20-B63676F891D1}" srcOrd="0" destOrd="0" presId="urn:microsoft.com/office/officeart/2018/2/layout/IconCircleList"/>
    <dgm:cxn modelId="{774261FD-F746-4E56-BE27-B18F3D72DD06}" type="presParOf" srcId="{7956FC60-BBD6-48B3-90D7-50A8083B213A}" destId="{49E0290D-1DD8-4D2D-9011-7AA50EAABCE6}" srcOrd="0" destOrd="0" presId="urn:microsoft.com/office/officeart/2018/2/layout/IconCircleList"/>
    <dgm:cxn modelId="{3A89D24D-E7F1-421E-9B66-0A86E5C8851C}" type="presParOf" srcId="{49E0290D-1DD8-4D2D-9011-7AA50EAABCE6}" destId="{7EAB329B-7918-4C6B-A663-1AC86ABBE717}" srcOrd="0" destOrd="0" presId="urn:microsoft.com/office/officeart/2018/2/layout/IconCircleList"/>
    <dgm:cxn modelId="{87DC9AB7-9C45-41C5-B2F1-A398007D45C3}" type="presParOf" srcId="{7EAB329B-7918-4C6B-A663-1AC86ABBE717}" destId="{F50D884A-7A2D-4549-8389-3FF1100DA63F}" srcOrd="0" destOrd="0" presId="urn:microsoft.com/office/officeart/2018/2/layout/IconCircleList"/>
    <dgm:cxn modelId="{CC1BB93E-1CCE-48A4-A7AF-8FD8F1D93FF0}" type="presParOf" srcId="{7EAB329B-7918-4C6B-A663-1AC86ABBE717}" destId="{4380B165-B673-4F19-A3B3-F0DA7587AFF0}" srcOrd="1" destOrd="0" presId="urn:microsoft.com/office/officeart/2018/2/layout/IconCircleList"/>
    <dgm:cxn modelId="{EB4A227C-AF19-4DA2-BA7E-B03508427EBA}" type="presParOf" srcId="{7EAB329B-7918-4C6B-A663-1AC86ABBE717}" destId="{5FFE0959-75A9-43B2-8CF1-B09854660F47}" srcOrd="2" destOrd="0" presId="urn:microsoft.com/office/officeart/2018/2/layout/IconCircleList"/>
    <dgm:cxn modelId="{CE85548E-7D21-40E5-9BD9-8879E0C97A5B}" type="presParOf" srcId="{7EAB329B-7918-4C6B-A663-1AC86ABBE717}" destId="{EC00CB89-B37C-46FB-9D51-DE4623609988}" srcOrd="3" destOrd="0" presId="urn:microsoft.com/office/officeart/2018/2/layout/IconCircleList"/>
    <dgm:cxn modelId="{A99326CE-77B0-4272-B406-3E323A9CE6A6}" type="presParOf" srcId="{49E0290D-1DD8-4D2D-9011-7AA50EAABCE6}" destId="{E38231B7-8046-443A-973B-A6DD093A1899}" srcOrd="1" destOrd="0" presId="urn:microsoft.com/office/officeart/2018/2/layout/IconCircleList"/>
    <dgm:cxn modelId="{831E81F8-71B2-43DA-A307-46E263305B85}" type="presParOf" srcId="{49E0290D-1DD8-4D2D-9011-7AA50EAABCE6}" destId="{A5730D77-E080-4FE3-B7C8-E52115ECEB1E}" srcOrd="2" destOrd="0" presId="urn:microsoft.com/office/officeart/2018/2/layout/IconCircleList"/>
    <dgm:cxn modelId="{F6AE1359-E173-4E2D-8D30-FEBB4725B5D5}" type="presParOf" srcId="{A5730D77-E080-4FE3-B7C8-E52115ECEB1E}" destId="{DC977654-D3C0-4204-892B-F6648EAA6391}" srcOrd="0" destOrd="0" presId="urn:microsoft.com/office/officeart/2018/2/layout/IconCircleList"/>
    <dgm:cxn modelId="{860E6DC7-F4B7-48AF-8936-EEF264869FC7}" type="presParOf" srcId="{A5730D77-E080-4FE3-B7C8-E52115ECEB1E}" destId="{B2EBE400-2D11-4459-B763-EF051D5A4AF1}" srcOrd="1" destOrd="0" presId="urn:microsoft.com/office/officeart/2018/2/layout/IconCircleList"/>
    <dgm:cxn modelId="{70C9F705-3B71-440F-8A4E-F14D9DC05E0F}" type="presParOf" srcId="{A5730D77-E080-4FE3-B7C8-E52115ECEB1E}" destId="{82634914-C1B4-4AA0-8293-1A0559A40702}" srcOrd="2" destOrd="0" presId="urn:microsoft.com/office/officeart/2018/2/layout/IconCircleList"/>
    <dgm:cxn modelId="{DC9079B2-6496-4A09-88E2-9105B0389550}" type="presParOf" srcId="{A5730D77-E080-4FE3-B7C8-E52115ECEB1E}" destId="{EDF6D0E1-3E49-400A-AD20-B63676F891D1}" srcOrd="3" destOrd="0" presId="urn:microsoft.com/office/officeart/2018/2/layout/IconCircleList"/>
    <dgm:cxn modelId="{45A31207-9952-4DEA-8044-AA4525BA629E}" type="presParOf" srcId="{49E0290D-1DD8-4D2D-9011-7AA50EAABCE6}" destId="{C2A2BC45-5823-4A15-8259-3208C06ACD42}" srcOrd="3" destOrd="0" presId="urn:microsoft.com/office/officeart/2018/2/layout/IconCircleList"/>
    <dgm:cxn modelId="{930D30D6-F86F-42C7-BFB2-9E7DE9E4440C}" type="presParOf" srcId="{49E0290D-1DD8-4D2D-9011-7AA50EAABCE6}" destId="{430C013E-7E97-4ADD-8FFE-7F1664823F63}" srcOrd="4" destOrd="0" presId="urn:microsoft.com/office/officeart/2018/2/layout/IconCircleList"/>
    <dgm:cxn modelId="{28DC0C3F-5DCE-42F7-82F5-18B0DB1AFA9F}" type="presParOf" srcId="{430C013E-7E97-4ADD-8FFE-7F1664823F63}" destId="{5C5E8020-AE73-45E5-A35A-415C032933E4}" srcOrd="0" destOrd="0" presId="urn:microsoft.com/office/officeart/2018/2/layout/IconCircleList"/>
    <dgm:cxn modelId="{C7C89277-3D80-4FCE-901F-EF86B0C7DB48}" type="presParOf" srcId="{430C013E-7E97-4ADD-8FFE-7F1664823F63}" destId="{091FC913-BDEF-4D44-8353-9FB2576F0FDA}" srcOrd="1" destOrd="0" presId="urn:microsoft.com/office/officeart/2018/2/layout/IconCircleList"/>
    <dgm:cxn modelId="{A2B1A477-C5AE-4837-B224-CF7A59B34681}" type="presParOf" srcId="{430C013E-7E97-4ADD-8FFE-7F1664823F63}" destId="{54129AF0-A5E2-4DF8-A577-5E26F29AE470}" srcOrd="2" destOrd="0" presId="urn:microsoft.com/office/officeart/2018/2/layout/IconCircleList"/>
    <dgm:cxn modelId="{AB3DB0E5-6519-4769-9593-ECC2E42A24D8}" type="presParOf" srcId="{430C013E-7E97-4ADD-8FFE-7F1664823F63}" destId="{9751C91F-F57A-420C-8FEE-32A918488903}" srcOrd="3" destOrd="0" presId="urn:microsoft.com/office/officeart/2018/2/layout/IconCircleList"/>
    <dgm:cxn modelId="{4A11FE5A-F16E-418A-A6D9-E88FA736C430}" type="presParOf" srcId="{49E0290D-1DD8-4D2D-9011-7AA50EAABCE6}" destId="{96E9F002-1531-4F2E-B7B6-92B6EE788706}" srcOrd="5" destOrd="0" presId="urn:microsoft.com/office/officeart/2018/2/layout/IconCircleList"/>
    <dgm:cxn modelId="{06056CDC-26CD-484A-BBE4-9CA38E6701ED}" type="presParOf" srcId="{49E0290D-1DD8-4D2D-9011-7AA50EAABCE6}" destId="{ADE8EA0B-ACF9-49C2-B084-F04654EF4712}" srcOrd="6" destOrd="0" presId="urn:microsoft.com/office/officeart/2018/2/layout/IconCircleList"/>
    <dgm:cxn modelId="{96442350-9C29-4C90-A125-258582512586}" type="presParOf" srcId="{ADE8EA0B-ACF9-49C2-B084-F04654EF4712}" destId="{1F05ABD4-DAC1-487A-A0CC-2482A88393AA}" srcOrd="0" destOrd="0" presId="urn:microsoft.com/office/officeart/2018/2/layout/IconCircleList"/>
    <dgm:cxn modelId="{1F582C23-C3D3-45CE-BAF3-9C0083F9038E}" type="presParOf" srcId="{ADE8EA0B-ACF9-49C2-B084-F04654EF4712}" destId="{8CC9D518-0EF7-44E2-8430-A4D6A1EF8499}" srcOrd="1" destOrd="0" presId="urn:microsoft.com/office/officeart/2018/2/layout/IconCircleList"/>
    <dgm:cxn modelId="{6B8DBE3E-4499-4CC0-A198-8ECCFAB2F0C2}" type="presParOf" srcId="{ADE8EA0B-ACF9-49C2-B084-F04654EF4712}" destId="{E9EB1BAA-2D53-41F3-AC13-8C5C142B4167}" srcOrd="2" destOrd="0" presId="urn:microsoft.com/office/officeart/2018/2/layout/IconCircleList"/>
    <dgm:cxn modelId="{BD08DD5A-A787-454A-98AE-83BCE209CDAE}" type="presParOf" srcId="{ADE8EA0B-ACF9-49C2-B084-F04654EF4712}" destId="{FBFACBD3-1EF3-45B3-A171-31C8766EF3EE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0594547-711B-49E7-9979-F458FCDC85D6}" type="doc">
      <dgm:prSet loTypeId="urn:microsoft.com/office/officeart/2018/5/layout/IconCircleLabelList" loCatId="icon" qsTypeId="urn:microsoft.com/office/officeart/2005/8/quickstyle/simple1" qsCatId="simple" csTypeId="urn:microsoft.com/office/officeart/2018/5/colors/Iconchunking_neutralicon_accent0_3" csCatId="mainScheme" phldr="1"/>
      <dgm:spPr/>
      <dgm:t>
        <a:bodyPr/>
        <a:lstStyle/>
        <a:p>
          <a:endParaRPr lang="en-US"/>
        </a:p>
      </dgm:t>
    </dgm:pt>
    <dgm:pt modelId="{5E212FF0-63BB-4D19-8E3F-6C9703D69909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cap="none" dirty="0"/>
            <a:t>Financial</a:t>
          </a:r>
        </a:p>
      </dgm:t>
    </dgm:pt>
    <dgm:pt modelId="{4C7DCDBD-18D0-48BC-81E4-3041BC7A977A}" type="parTrans" cxnId="{7E5BAF72-0E4B-43DD-9093-322CC0E4EB3C}">
      <dgm:prSet/>
      <dgm:spPr/>
      <dgm:t>
        <a:bodyPr/>
        <a:lstStyle/>
        <a:p>
          <a:endParaRPr lang="en-US"/>
        </a:p>
      </dgm:t>
    </dgm:pt>
    <dgm:pt modelId="{C8654300-0D65-42B3-B230-F4723C68113F}" type="sibTrans" cxnId="{7E5BAF72-0E4B-43DD-9093-322CC0E4EB3C}">
      <dgm:prSet/>
      <dgm:spPr/>
      <dgm:t>
        <a:bodyPr/>
        <a:lstStyle/>
        <a:p>
          <a:endParaRPr lang="en-US"/>
        </a:p>
      </dgm:t>
    </dgm:pt>
    <dgm:pt modelId="{12BE6EC2-BD1B-4E50-80B2-592496A4A82B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cap="none" dirty="0"/>
            <a:t>Legal</a:t>
          </a:r>
        </a:p>
      </dgm:t>
    </dgm:pt>
    <dgm:pt modelId="{C03396AC-26FB-4B7E-8084-2133F42FFD16}" type="parTrans" cxnId="{C0D57154-FDF6-44BB-A7A1-ECDCB95CE11B}">
      <dgm:prSet/>
      <dgm:spPr/>
      <dgm:t>
        <a:bodyPr/>
        <a:lstStyle/>
        <a:p>
          <a:endParaRPr lang="en-US"/>
        </a:p>
      </dgm:t>
    </dgm:pt>
    <dgm:pt modelId="{A2D74597-17D9-46F3-8B63-955412DFF93B}" type="sibTrans" cxnId="{C0D57154-FDF6-44BB-A7A1-ECDCB95CE11B}">
      <dgm:prSet/>
      <dgm:spPr/>
      <dgm:t>
        <a:bodyPr/>
        <a:lstStyle/>
        <a:p>
          <a:endParaRPr lang="en-US"/>
        </a:p>
      </dgm:t>
    </dgm:pt>
    <dgm:pt modelId="{D0B23CE0-2297-4984-A1F6-A4067394B5EC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cap="none" dirty="0"/>
            <a:t>Political</a:t>
          </a:r>
        </a:p>
      </dgm:t>
    </dgm:pt>
    <dgm:pt modelId="{B5C4D6F3-D9E5-4210-A791-DAD54113922E}" type="parTrans" cxnId="{F7D72FC0-119B-43BC-821B-0C500DC30524}">
      <dgm:prSet/>
      <dgm:spPr/>
      <dgm:t>
        <a:bodyPr/>
        <a:lstStyle/>
        <a:p>
          <a:endParaRPr lang="en-US"/>
        </a:p>
      </dgm:t>
    </dgm:pt>
    <dgm:pt modelId="{5F51E4F6-EDF0-4FBF-AA91-1A1625FABA6D}" type="sibTrans" cxnId="{F7D72FC0-119B-43BC-821B-0C500DC30524}">
      <dgm:prSet/>
      <dgm:spPr/>
      <dgm:t>
        <a:bodyPr/>
        <a:lstStyle/>
        <a:p>
          <a:endParaRPr lang="en-US"/>
        </a:p>
      </dgm:t>
    </dgm:pt>
    <dgm:pt modelId="{DFD60585-77F3-45B2-8A39-A0D6E0503CF3}" type="pres">
      <dgm:prSet presAssocID="{D0594547-711B-49E7-9979-F458FCDC85D6}" presName="root" presStyleCnt="0">
        <dgm:presLayoutVars>
          <dgm:dir/>
          <dgm:resizeHandles val="exact"/>
        </dgm:presLayoutVars>
      </dgm:prSet>
      <dgm:spPr/>
    </dgm:pt>
    <dgm:pt modelId="{58FEE0C4-A713-451A-9B37-C7CC0F4D2B81}" type="pres">
      <dgm:prSet presAssocID="{5E212FF0-63BB-4D19-8E3F-6C9703D69909}" presName="compNode" presStyleCnt="0"/>
      <dgm:spPr/>
    </dgm:pt>
    <dgm:pt modelId="{A672FFE1-9131-41EB-B910-83319E688684}" type="pres">
      <dgm:prSet presAssocID="{5E212FF0-63BB-4D19-8E3F-6C9703D69909}" presName="iconBgRect" presStyleLbl="bgShp" presStyleIdx="0" presStyleCnt="3"/>
      <dgm:spPr>
        <a:solidFill>
          <a:schemeClr val="bg1"/>
        </a:solidFill>
        <a:ln w="12700">
          <a:solidFill>
            <a:schemeClr val="tx1"/>
          </a:solidFill>
        </a:ln>
      </dgm:spPr>
    </dgm:pt>
    <dgm:pt modelId="{B96DD189-F457-4BCA-9436-11C1CD080A59}" type="pres">
      <dgm:prSet presAssocID="{5E212FF0-63BB-4D19-8E3F-6C9703D69909}" presName="iconRect" presStyleLbl="node1" presStyleIdx="0" presStyleCnt="3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oney"/>
        </a:ext>
      </dgm:extLst>
    </dgm:pt>
    <dgm:pt modelId="{C924A3A5-1A59-4A9B-A05B-513CFA14FE9E}" type="pres">
      <dgm:prSet presAssocID="{5E212FF0-63BB-4D19-8E3F-6C9703D69909}" presName="spaceRect" presStyleCnt="0"/>
      <dgm:spPr/>
    </dgm:pt>
    <dgm:pt modelId="{26B025D9-7CAC-4C99-9C66-F05C592DDB35}" type="pres">
      <dgm:prSet presAssocID="{5E212FF0-63BB-4D19-8E3F-6C9703D69909}" presName="textRect" presStyleLbl="revTx" presStyleIdx="0" presStyleCnt="3">
        <dgm:presLayoutVars>
          <dgm:chMax val="1"/>
          <dgm:chPref val="1"/>
        </dgm:presLayoutVars>
      </dgm:prSet>
      <dgm:spPr/>
    </dgm:pt>
    <dgm:pt modelId="{281F5AE0-3F30-4861-B9ED-C5178D30BBE3}" type="pres">
      <dgm:prSet presAssocID="{C8654300-0D65-42B3-B230-F4723C68113F}" presName="sibTrans" presStyleCnt="0"/>
      <dgm:spPr/>
    </dgm:pt>
    <dgm:pt modelId="{33905BEE-BCCA-4CCB-BBD6-FA6908F2E799}" type="pres">
      <dgm:prSet presAssocID="{12BE6EC2-BD1B-4E50-80B2-592496A4A82B}" presName="compNode" presStyleCnt="0"/>
      <dgm:spPr/>
    </dgm:pt>
    <dgm:pt modelId="{4E10C09E-FF25-4FD3-9611-5D70F2D5B504}" type="pres">
      <dgm:prSet presAssocID="{12BE6EC2-BD1B-4E50-80B2-592496A4A82B}" presName="iconBgRect" presStyleLbl="bgShp" presStyleIdx="1" presStyleCnt="3"/>
      <dgm:spPr>
        <a:noFill/>
        <a:ln w="12700">
          <a:solidFill>
            <a:schemeClr val="tx1"/>
          </a:solidFill>
        </a:ln>
      </dgm:spPr>
    </dgm:pt>
    <dgm:pt modelId="{C45624AE-A4BD-47C3-8389-DBD6C032BE44}" type="pres">
      <dgm:prSet presAssocID="{12BE6EC2-BD1B-4E50-80B2-592496A4A82B}" presName="iconRect" presStyleLbl="node1" presStyleIdx="1" presStyleCnt="3"/>
      <dgm:spPr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cales of Justice"/>
        </a:ext>
      </dgm:extLst>
    </dgm:pt>
    <dgm:pt modelId="{1A8B93A2-18E8-4105-A989-934E18070A07}" type="pres">
      <dgm:prSet presAssocID="{12BE6EC2-BD1B-4E50-80B2-592496A4A82B}" presName="spaceRect" presStyleCnt="0"/>
      <dgm:spPr/>
    </dgm:pt>
    <dgm:pt modelId="{53B0C2EC-5FFD-4D54-A828-F0F7701A4902}" type="pres">
      <dgm:prSet presAssocID="{12BE6EC2-BD1B-4E50-80B2-592496A4A82B}" presName="textRect" presStyleLbl="revTx" presStyleIdx="1" presStyleCnt="3">
        <dgm:presLayoutVars>
          <dgm:chMax val="1"/>
          <dgm:chPref val="1"/>
        </dgm:presLayoutVars>
      </dgm:prSet>
      <dgm:spPr/>
    </dgm:pt>
    <dgm:pt modelId="{6F9C2A57-0752-4C7A-A657-9070E2CECE87}" type="pres">
      <dgm:prSet presAssocID="{A2D74597-17D9-46F3-8B63-955412DFF93B}" presName="sibTrans" presStyleCnt="0"/>
      <dgm:spPr/>
    </dgm:pt>
    <dgm:pt modelId="{673FE0CB-F64E-49F6-A358-59EFCD4CCA63}" type="pres">
      <dgm:prSet presAssocID="{D0B23CE0-2297-4984-A1F6-A4067394B5EC}" presName="compNode" presStyleCnt="0"/>
      <dgm:spPr/>
    </dgm:pt>
    <dgm:pt modelId="{ED0EDF86-F9DD-4AE7-ABAD-DC39EA28849C}" type="pres">
      <dgm:prSet presAssocID="{D0B23CE0-2297-4984-A1F6-A4067394B5EC}" presName="iconBgRect" presStyleLbl="bgShp" presStyleIdx="2" presStyleCnt="3"/>
      <dgm:spPr>
        <a:noFill/>
        <a:ln>
          <a:solidFill>
            <a:schemeClr val="tx1"/>
          </a:solidFill>
        </a:ln>
      </dgm:spPr>
    </dgm:pt>
    <dgm:pt modelId="{A3A8D22E-C4B2-4E8F-9791-E6F42CD1344A}" type="pres">
      <dgm:prSet presAssocID="{D0B23CE0-2297-4984-A1F6-A4067394B5EC}" presName="iconRect" presStyleLbl="node1" presStyleIdx="2" presStyleCnt="3"/>
      <dgm:spPr>
        <a:blipFill rotWithShape="1">
          <a:blip xmlns:r="http://schemas.openxmlformats.org/officeDocument/2006/relationships" r:embed="rId3"/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nk"/>
        </a:ext>
      </dgm:extLst>
    </dgm:pt>
    <dgm:pt modelId="{E5C8E893-7C77-47EF-BF6F-8264F8F6479E}" type="pres">
      <dgm:prSet presAssocID="{D0B23CE0-2297-4984-A1F6-A4067394B5EC}" presName="spaceRect" presStyleCnt="0"/>
      <dgm:spPr/>
    </dgm:pt>
    <dgm:pt modelId="{1A88F754-CBC4-41F2-A8EF-6497B9C28DA8}" type="pres">
      <dgm:prSet presAssocID="{D0B23CE0-2297-4984-A1F6-A4067394B5EC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FE047207-2D86-4DAC-828E-C1F292131DD2}" type="presOf" srcId="{D0B23CE0-2297-4984-A1F6-A4067394B5EC}" destId="{1A88F754-CBC4-41F2-A8EF-6497B9C28DA8}" srcOrd="0" destOrd="0" presId="urn:microsoft.com/office/officeart/2018/5/layout/IconCircleLabelList"/>
    <dgm:cxn modelId="{7E5BAF72-0E4B-43DD-9093-322CC0E4EB3C}" srcId="{D0594547-711B-49E7-9979-F458FCDC85D6}" destId="{5E212FF0-63BB-4D19-8E3F-6C9703D69909}" srcOrd="0" destOrd="0" parTransId="{4C7DCDBD-18D0-48BC-81E4-3041BC7A977A}" sibTransId="{C8654300-0D65-42B3-B230-F4723C68113F}"/>
    <dgm:cxn modelId="{C0D57154-FDF6-44BB-A7A1-ECDCB95CE11B}" srcId="{D0594547-711B-49E7-9979-F458FCDC85D6}" destId="{12BE6EC2-BD1B-4E50-80B2-592496A4A82B}" srcOrd="1" destOrd="0" parTransId="{C03396AC-26FB-4B7E-8084-2133F42FFD16}" sibTransId="{A2D74597-17D9-46F3-8B63-955412DFF93B}"/>
    <dgm:cxn modelId="{D4D88A7E-ECF7-4CA0-90D4-B126DC3F0F18}" type="presOf" srcId="{12BE6EC2-BD1B-4E50-80B2-592496A4A82B}" destId="{53B0C2EC-5FFD-4D54-A828-F0F7701A4902}" srcOrd="0" destOrd="0" presId="urn:microsoft.com/office/officeart/2018/5/layout/IconCircleLabelList"/>
    <dgm:cxn modelId="{F7BBECB3-D090-401E-AFD0-FDCD00A6BD9D}" type="presOf" srcId="{5E212FF0-63BB-4D19-8E3F-6C9703D69909}" destId="{26B025D9-7CAC-4C99-9C66-F05C592DDB35}" srcOrd="0" destOrd="0" presId="urn:microsoft.com/office/officeart/2018/5/layout/IconCircleLabelList"/>
    <dgm:cxn modelId="{5C1F48B7-EBE9-4F57-B4A5-CBD5518B52A3}" type="presOf" srcId="{D0594547-711B-49E7-9979-F458FCDC85D6}" destId="{DFD60585-77F3-45B2-8A39-A0D6E0503CF3}" srcOrd="0" destOrd="0" presId="urn:microsoft.com/office/officeart/2018/5/layout/IconCircleLabelList"/>
    <dgm:cxn modelId="{F7D72FC0-119B-43BC-821B-0C500DC30524}" srcId="{D0594547-711B-49E7-9979-F458FCDC85D6}" destId="{D0B23CE0-2297-4984-A1F6-A4067394B5EC}" srcOrd="2" destOrd="0" parTransId="{B5C4D6F3-D9E5-4210-A791-DAD54113922E}" sibTransId="{5F51E4F6-EDF0-4FBF-AA91-1A1625FABA6D}"/>
    <dgm:cxn modelId="{AA97D1DC-327C-4302-A90C-5D0681D031F2}" type="presParOf" srcId="{DFD60585-77F3-45B2-8A39-A0D6E0503CF3}" destId="{58FEE0C4-A713-451A-9B37-C7CC0F4D2B81}" srcOrd="0" destOrd="0" presId="urn:microsoft.com/office/officeart/2018/5/layout/IconCircleLabelList"/>
    <dgm:cxn modelId="{864D7C4D-E946-4A70-84EF-09694663E673}" type="presParOf" srcId="{58FEE0C4-A713-451A-9B37-C7CC0F4D2B81}" destId="{A672FFE1-9131-41EB-B910-83319E688684}" srcOrd="0" destOrd="0" presId="urn:microsoft.com/office/officeart/2018/5/layout/IconCircleLabelList"/>
    <dgm:cxn modelId="{6AA3C05C-D1E1-4413-B4F8-C512384102C3}" type="presParOf" srcId="{58FEE0C4-A713-451A-9B37-C7CC0F4D2B81}" destId="{B96DD189-F457-4BCA-9436-11C1CD080A59}" srcOrd="1" destOrd="0" presId="urn:microsoft.com/office/officeart/2018/5/layout/IconCircleLabelList"/>
    <dgm:cxn modelId="{3DCEEC9D-5151-4298-B684-0F1BD6CDEC46}" type="presParOf" srcId="{58FEE0C4-A713-451A-9B37-C7CC0F4D2B81}" destId="{C924A3A5-1A59-4A9B-A05B-513CFA14FE9E}" srcOrd="2" destOrd="0" presId="urn:microsoft.com/office/officeart/2018/5/layout/IconCircleLabelList"/>
    <dgm:cxn modelId="{678EE08B-55BC-41F7-AF2F-6C4A574E4295}" type="presParOf" srcId="{58FEE0C4-A713-451A-9B37-C7CC0F4D2B81}" destId="{26B025D9-7CAC-4C99-9C66-F05C592DDB35}" srcOrd="3" destOrd="0" presId="urn:microsoft.com/office/officeart/2018/5/layout/IconCircleLabelList"/>
    <dgm:cxn modelId="{D2714C12-5E68-4A98-86A4-029B7C8AD1F3}" type="presParOf" srcId="{DFD60585-77F3-45B2-8A39-A0D6E0503CF3}" destId="{281F5AE0-3F30-4861-B9ED-C5178D30BBE3}" srcOrd="1" destOrd="0" presId="urn:microsoft.com/office/officeart/2018/5/layout/IconCircleLabelList"/>
    <dgm:cxn modelId="{17E7E1B8-4637-4210-8589-5D967D9FBC48}" type="presParOf" srcId="{DFD60585-77F3-45B2-8A39-A0D6E0503CF3}" destId="{33905BEE-BCCA-4CCB-BBD6-FA6908F2E799}" srcOrd="2" destOrd="0" presId="urn:microsoft.com/office/officeart/2018/5/layout/IconCircleLabelList"/>
    <dgm:cxn modelId="{5D401BFD-BB83-4EA9-8948-532BA7E6D3E2}" type="presParOf" srcId="{33905BEE-BCCA-4CCB-BBD6-FA6908F2E799}" destId="{4E10C09E-FF25-4FD3-9611-5D70F2D5B504}" srcOrd="0" destOrd="0" presId="urn:microsoft.com/office/officeart/2018/5/layout/IconCircleLabelList"/>
    <dgm:cxn modelId="{01039303-AFB8-4BF2-81D5-1A297DD81064}" type="presParOf" srcId="{33905BEE-BCCA-4CCB-BBD6-FA6908F2E799}" destId="{C45624AE-A4BD-47C3-8389-DBD6C032BE44}" srcOrd="1" destOrd="0" presId="urn:microsoft.com/office/officeart/2018/5/layout/IconCircleLabelList"/>
    <dgm:cxn modelId="{03C307F8-C92F-429B-8BC2-FAA1E4958FDB}" type="presParOf" srcId="{33905BEE-BCCA-4CCB-BBD6-FA6908F2E799}" destId="{1A8B93A2-18E8-4105-A989-934E18070A07}" srcOrd="2" destOrd="0" presId="urn:microsoft.com/office/officeart/2018/5/layout/IconCircleLabelList"/>
    <dgm:cxn modelId="{5A285E3B-ACE2-4E0A-991F-144639968EA5}" type="presParOf" srcId="{33905BEE-BCCA-4CCB-BBD6-FA6908F2E799}" destId="{53B0C2EC-5FFD-4D54-A828-F0F7701A4902}" srcOrd="3" destOrd="0" presId="urn:microsoft.com/office/officeart/2018/5/layout/IconCircleLabelList"/>
    <dgm:cxn modelId="{468338ED-9E3F-4A97-A186-9881B7C3BABE}" type="presParOf" srcId="{DFD60585-77F3-45B2-8A39-A0D6E0503CF3}" destId="{6F9C2A57-0752-4C7A-A657-9070E2CECE87}" srcOrd="3" destOrd="0" presId="urn:microsoft.com/office/officeart/2018/5/layout/IconCircleLabelList"/>
    <dgm:cxn modelId="{109F0E0A-9315-41B1-AE65-CEB527D3E9CB}" type="presParOf" srcId="{DFD60585-77F3-45B2-8A39-A0D6E0503CF3}" destId="{673FE0CB-F64E-49F6-A358-59EFCD4CCA63}" srcOrd="4" destOrd="0" presId="urn:microsoft.com/office/officeart/2018/5/layout/IconCircleLabelList"/>
    <dgm:cxn modelId="{7D3156E8-E562-4F02-9D4C-9523DA3C0571}" type="presParOf" srcId="{673FE0CB-F64E-49F6-A358-59EFCD4CCA63}" destId="{ED0EDF86-F9DD-4AE7-ABAD-DC39EA28849C}" srcOrd="0" destOrd="0" presId="urn:microsoft.com/office/officeart/2018/5/layout/IconCircleLabelList"/>
    <dgm:cxn modelId="{10CB4B99-6CE0-4580-889D-B74BC5B06692}" type="presParOf" srcId="{673FE0CB-F64E-49F6-A358-59EFCD4CCA63}" destId="{A3A8D22E-C4B2-4E8F-9791-E6F42CD1344A}" srcOrd="1" destOrd="0" presId="urn:microsoft.com/office/officeart/2018/5/layout/IconCircleLabelList"/>
    <dgm:cxn modelId="{906C0469-EAB0-47F0-8294-BEE097FAE326}" type="presParOf" srcId="{673FE0CB-F64E-49F6-A358-59EFCD4CCA63}" destId="{E5C8E893-7C77-47EF-BF6F-8264F8F6479E}" srcOrd="2" destOrd="0" presId="urn:microsoft.com/office/officeart/2018/5/layout/IconCircleLabelList"/>
    <dgm:cxn modelId="{3F12BC06-73BA-4BF9-B2F7-E31A116176D3}" type="presParOf" srcId="{673FE0CB-F64E-49F6-A358-59EFCD4CCA63}" destId="{1A88F754-CBC4-41F2-A8EF-6497B9C28DA8}" srcOrd="3" destOrd="0" presId="urn:microsoft.com/office/officeart/2018/5/layout/IconCircleLabelList"/>
  </dgm:cxnLst>
  <dgm:bg/>
  <dgm:whole>
    <a:ln w="12700"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D8D07D2-EBE6-4E95-A923-0CB6D27BC674}" type="doc">
      <dgm:prSet loTypeId="urn:microsoft.com/office/officeart/2005/8/layout/b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9476FBE-8165-4109-9767-A87597B7B4B1}">
      <dgm:prSet phldrT="[Text]"/>
      <dgm:spPr>
        <a:solidFill>
          <a:srgbClr val="005837">
            <a:alpha val="15000"/>
          </a:srgbClr>
        </a:solidFill>
        <a:ln>
          <a:solidFill>
            <a:srgbClr val="005837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Financial</a:t>
          </a:r>
        </a:p>
      </dgm:t>
    </dgm:pt>
    <dgm:pt modelId="{6A337598-C12F-44A7-964F-0F9E14B2425C}" type="parTrans" cxnId="{D6D2970C-D2DC-4867-94D7-10E57B6D9359}">
      <dgm:prSet/>
      <dgm:spPr/>
      <dgm:t>
        <a:bodyPr/>
        <a:lstStyle/>
        <a:p>
          <a:endParaRPr lang="en-US"/>
        </a:p>
      </dgm:t>
    </dgm:pt>
    <dgm:pt modelId="{85BDA5A3-5D3F-4773-AC56-47D66DF4991E}" type="sibTrans" cxnId="{D6D2970C-D2DC-4867-94D7-10E57B6D9359}">
      <dgm:prSet/>
      <dgm:spPr/>
      <dgm:t>
        <a:bodyPr/>
        <a:lstStyle/>
        <a:p>
          <a:endParaRPr lang="en-US"/>
        </a:p>
      </dgm:t>
    </dgm:pt>
    <dgm:pt modelId="{904DA389-6D10-4D94-8F9B-2F2A8B545724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General benefit requirement</a:t>
          </a:r>
        </a:p>
      </dgm:t>
    </dgm:pt>
    <dgm:pt modelId="{D0EFE550-2EFA-4C39-AD03-36478F5F30BA}" type="parTrans" cxnId="{AB666633-1689-404C-8E05-C35551D0FECE}">
      <dgm:prSet/>
      <dgm:spPr/>
      <dgm:t>
        <a:bodyPr/>
        <a:lstStyle/>
        <a:p>
          <a:endParaRPr lang="en-US"/>
        </a:p>
      </dgm:t>
    </dgm:pt>
    <dgm:pt modelId="{151E7669-1C8C-41ED-9901-E46FE2EA4D74}" type="sibTrans" cxnId="{AB666633-1689-404C-8E05-C35551D0FECE}">
      <dgm:prSet/>
      <dgm:spPr/>
      <dgm:t>
        <a:bodyPr/>
        <a:lstStyle/>
        <a:p>
          <a:endParaRPr lang="en-US"/>
        </a:p>
      </dgm:t>
    </dgm:pt>
    <dgm:pt modelId="{60CD81CE-A125-489B-83C4-D79CB4BDA78F}">
      <dgm:prSet phldrT="[Text]"/>
      <dgm:spPr>
        <a:solidFill>
          <a:srgbClr val="005837">
            <a:alpha val="15000"/>
          </a:srgbClr>
        </a:solidFill>
        <a:ln>
          <a:solidFill>
            <a:srgbClr val="005837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Legal 	</a:t>
          </a:r>
        </a:p>
      </dgm:t>
    </dgm:pt>
    <dgm:pt modelId="{E1747C5B-F74C-44D6-9728-31054A19DBE8}" type="parTrans" cxnId="{0FFFEAB7-CA6A-4E8A-B3BF-E5599916B7D1}">
      <dgm:prSet/>
      <dgm:spPr/>
      <dgm:t>
        <a:bodyPr/>
        <a:lstStyle/>
        <a:p>
          <a:endParaRPr lang="en-US"/>
        </a:p>
      </dgm:t>
    </dgm:pt>
    <dgm:pt modelId="{D9FA17C8-81E2-4385-8BCC-6AE41C2E01E3}" type="sibTrans" cxnId="{0FFFEAB7-CA6A-4E8A-B3BF-E5599916B7D1}">
      <dgm:prSet/>
      <dgm:spPr/>
      <dgm:t>
        <a:bodyPr/>
        <a:lstStyle/>
        <a:p>
          <a:endParaRPr lang="en-US"/>
        </a:p>
      </dgm:t>
    </dgm:pt>
    <dgm:pt modelId="{C141F900-B5BA-45A8-8865-0327F7398FE7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Legal environment difficult</a:t>
          </a:r>
        </a:p>
      </dgm:t>
    </dgm:pt>
    <dgm:pt modelId="{AFC4EFCE-FB6E-48C6-830E-12F7230253C6}" type="parTrans" cxnId="{34E9C196-0BA0-4211-8D57-ED64882B91A1}">
      <dgm:prSet/>
      <dgm:spPr/>
      <dgm:t>
        <a:bodyPr/>
        <a:lstStyle/>
        <a:p>
          <a:endParaRPr lang="en-US"/>
        </a:p>
      </dgm:t>
    </dgm:pt>
    <dgm:pt modelId="{4200BE12-22DC-4882-82AF-CFC2A7B0CDBD}" type="sibTrans" cxnId="{34E9C196-0BA0-4211-8D57-ED64882B91A1}">
      <dgm:prSet/>
      <dgm:spPr/>
      <dgm:t>
        <a:bodyPr/>
        <a:lstStyle/>
        <a:p>
          <a:endParaRPr lang="en-US"/>
        </a:p>
      </dgm:t>
    </dgm:pt>
    <dgm:pt modelId="{C7B686AB-A3E6-412E-A2AF-BC7833BD3912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Active involvement of legal counsel</a:t>
          </a:r>
        </a:p>
      </dgm:t>
    </dgm:pt>
    <dgm:pt modelId="{54B5BBD2-7583-4BAB-99E2-0C3924670BB2}" type="parTrans" cxnId="{8348592F-ECD7-477C-A99C-4E4888CADF40}">
      <dgm:prSet/>
      <dgm:spPr/>
      <dgm:t>
        <a:bodyPr/>
        <a:lstStyle/>
        <a:p>
          <a:endParaRPr lang="en-US"/>
        </a:p>
      </dgm:t>
    </dgm:pt>
    <dgm:pt modelId="{7ED1ED7E-3D0C-4E4F-9E8F-EC8C885F214E}" type="sibTrans" cxnId="{8348592F-ECD7-477C-A99C-4E4888CADF40}">
      <dgm:prSet/>
      <dgm:spPr/>
      <dgm:t>
        <a:bodyPr/>
        <a:lstStyle/>
        <a:p>
          <a:endParaRPr lang="en-US"/>
        </a:p>
      </dgm:t>
    </dgm:pt>
    <dgm:pt modelId="{86239325-1AEB-4F27-9F88-4889EDDF5ABD}">
      <dgm:prSet phldrT="[Text]"/>
      <dgm:spPr>
        <a:solidFill>
          <a:srgbClr val="005837">
            <a:alpha val="15000"/>
          </a:srgbClr>
        </a:solidFill>
        <a:ln>
          <a:solidFill>
            <a:srgbClr val="005837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Political</a:t>
          </a:r>
        </a:p>
      </dgm:t>
    </dgm:pt>
    <dgm:pt modelId="{4CE64674-AA6E-4400-8DED-A5F7FF1CE058}" type="parTrans" cxnId="{DFF1C4B3-38B9-421C-BD73-A137224E9911}">
      <dgm:prSet/>
      <dgm:spPr/>
      <dgm:t>
        <a:bodyPr/>
        <a:lstStyle/>
        <a:p>
          <a:endParaRPr lang="en-US"/>
        </a:p>
      </dgm:t>
    </dgm:pt>
    <dgm:pt modelId="{4B17E3A0-ED22-4CBC-941B-B42D8EDFB5CB}" type="sibTrans" cxnId="{DFF1C4B3-38B9-421C-BD73-A137224E9911}">
      <dgm:prSet/>
      <dgm:spPr/>
      <dgm:t>
        <a:bodyPr/>
        <a:lstStyle/>
        <a:p>
          <a:endParaRPr lang="en-US"/>
        </a:p>
      </dgm:t>
    </dgm:pt>
    <dgm:pt modelId="{82ADC929-7F04-4E01-8946-4661DD5A732F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b="1" dirty="0"/>
            <a:t>Weighted 50% + support by proposed assessment</a:t>
          </a:r>
        </a:p>
      </dgm:t>
    </dgm:pt>
    <dgm:pt modelId="{549747B0-65F4-4CA8-805D-32FEAB340631}" type="parTrans" cxnId="{7C25A248-347E-470D-8AB0-36652D7D3FA3}">
      <dgm:prSet/>
      <dgm:spPr/>
      <dgm:t>
        <a:bodyPr/>
        <a:lstStyle/>
        <a:p>
          <a:endParaRPr lang="en-US"/>
        </a:p>
      </dgm:t>
    </dgm:pt>
    <dgm:pt modelId="{5CDC7F43-22F8-4EE0-A652-9A7F996F7171}" type="sibTrans" cxnId="{7C25A248-347E-470D-8AB0-36652D7D3FA3}">
      <dgm:prSet/>
      <dgm:spPr/>
      <dgm:t>
        <a:bodyPr/>
        <a:lstStyle/>
        <a:p>
          <a:endParaRPr lang="en-US"/>
        </a:p>
      </dgm:t>
    </dgm:pt>
    <dgm:pt modelId="{E30A4477-D0D4-400B-BFB3-4EC10E1A092E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45-Day Mailed Ballot Proceeding </a:t>
          </a:r>
        </a:p>
      </dgm:t>
    </dgm:pt>
    <dgm:pt modelId="{256AC402-8D86-409D-B0EE-6DB3B342177F}" type="parTrans" cxnId="{00E35199-3771-4197-AC8F-98721FBFBA99}">
      <dgm:prSet/>
      <dgm:spPr/>
      <dgm:t>
        <a:bodyPr/>
        <a:lstStyle/>
        <a:p>
          <a:endParaRPr lang="en-US"/>
        </a:p>
      </dgm:t>
    </dgm:pt>
    <dgm:pt modelId="{67572486-FC85-4788-BC5C-C2B78B504CC6}" type="sibTrans" cxnId="{00E35199-3771-4197-AC8F-98721FBFBA99}">
      <dgm:prSet/>
      <dgm:spPr/>
      <dgm:t>
        <a:bodyPr/>
        <a:lstStyle/>
        <a:p>
          <a:endParaRPr lang="en-US"/>
        </a:p>
      </dgm:t>
    </dgm:pt>
    <dgm:pt modelId="{797CEED6-69DE-4B49-BDCB-F2632CBEC735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Property Owners Vote</a:t>
          </a:r>
        </a:p>
      </dgm:t>
    </dgm:pt>
    <dgm:pt modelId="{4FFD95B6-9AC0-4D35-8D8A-D90A65B46D99}" type="parTrans" cxnId="{07D27FD1-6B39-4748-A0DE-ED98349D911A}">
      <dgm:prSet/>
      <dgm:spPr/>
      <dgm:t>
        <a:bodyPr/>
        <a:lstStyle/>
        <a:p>
          <a:endParaRPr lang="en-US"/>
        </a:p>
      </dgm:t>
    </dgm:pt>
    <dgm:pt modelId="{46D0A655-908A-4DEC-975D-37113A17D9BF}" type="sibTrans" cxnId="{07D27FD1-6B39-4748-A0DE-ED98349D911A}">
      <dgm:prSet/>
      <dgm:spPr/>
      <dgm:t>
        <a:bodyPr/>
        <a:lstStyle/>
        <a:p>
          <a:endParaRPr lang="en-US"/>
        </a:p>
      </dgm:t>
    </dgm:pt>
    <dgm:pt modelId="{4484781B-0E1D-400E-A6CA-7F1F0817785D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Operations, maintenance and improvements</a:t>
          </a:r>
        </a:p>
      </dgm:t>
    </dgm:pt>
    <dgm:pt modelId="{266E7AE5-CDD9-42A7-980D-719DF528ACCA}" type="parTrans" cxnId="{251317BC-B26A-478C-AA8A-20EC9C673A39}">
      <dgm:prSet/>
      <dgm:spPr/>
      <dgm:t>
        <a:bodyPr/>
        <a:lstStyle/>
        <a:p>
          <a:endParaRPr lang="en-US"/>
        </a:p>
      </dgm:t>
    </dgm:pt>
    <dgm:pt modelId="{A41949C9-E9BE-4B1E-ACA2-00F5788BFB86}" type="sibTrans" cxnId="{251317BC-B26A-478C-AA8A-20EC9C673A39}">
      <dgm:prSet/>
      <dgm:spPr/>
      <dgm:t>
        <a:bodyPr/>
        <a:lstStyle/>
        <a:p>
          <a:endParaRPr lang="en-US"/>
        </a:p>
      </dgm:t>
    </dgm:pt>
    <dgm:pt modelId="{C3CEC941-DC02-4736-83A1-B2C6C44BD828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Various rates</a:t>
          </a:r>
        </a:p>
      </dgm:t>
    </dgm:pt>
    <dgm:pt modelId="{57B2B015-A342-4E88-973D-C662EECD1DC5}" type="parTrans" cxnId="{E3EA9D1F-BE20-48CE-8F12-F22575139F7F}">
      <dgm:prSet/>
      <dgm:spPr/>
      <dgm:t>
        <a:bodyPr/>
        <a:lstStyle/>
        <a:p>
          <a:endParaRPr lang="en-US"/>
        </a:p>
      </dgm:t>
    </dgm:pt>
    <dgm:pt modelId="{EA1504F0-2467-4718-8AF8-19281B76548D}" type="sibTrans" cxnId="{E3EA9D1F-BE20-48CE-8F12-F22575139F7F}">
      <dgm:prSet/>
      <dgm:spPr/>
      <dgm:t>
        <a:bodyPr/>
        <a:lstStyle/>
        <a:p>
          <a:endParaRPr lang="en-US"/>
        </a:p>
      </dgm:t>
    </dgm:pt>
    <dgm:pt modelId="{FD85D550-8CC9-43B3-9889-C6C3E3DE03DC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Proposition 218 Compliance</a:t>
          </a:r>
        </a:p>
      </dgm:t>
    </dgm:pt>
    <dgm:pt modelId="{220E6A55-B2F7-4210-B250-707B1528F914}" type="parTrans" cxnId="{3367C97F-C9B1-4C76-9356-0F513D09BB04}">
      <dgm:prSet/>
      <dgm:spPr/>
      <dgm:t>
        <a:bodyPr/>
        <a:lstStyle/>
        <a:p>
          <a:endParaRPr lang="en-US"/>
        </a:p>
      </dgm:t>
    </dgm:pt>
    <dgm:pt modelId="{20B339FC-2147-4053-943C-115DE6E142E1}" type="sibTrans" cxnId="{3367C97F-C9B1-4C76-9356-0F513D09BB04}">
      <dgm:prSet/>
      <dgm:spPr/>
      <dgm:t>
        <a:bodyPr/>
        <a:lstStyle/>
        <a:p>
          <a:endParaRPr lang="en-US"/>
        </a:p>
      </dgm:t>
    </dgm:pt>
    <dgm:pt modelId="{771BCCF4-83CF-441D-9019-CAEAA1A6F527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Robust engineer’s report</a:t>
          </a:r>
        </a:p>
      </dgm:t>
    </dgm:pt>
    <dgm:pt modelId="{2F2F0A35-AA7E-40B2-B52F-77E9079EDC93}" type="parTrans" cxnId="{4F5CF0C0-6FDF-4C99-9520-025CD84B325B}">
      <dgm:prSet/>
      <dgm:spPr/>
      <dgm:t>
        <a:bodyPr/>
        <a:lstStyle/>
        <a:p>
          <a:endParaRPr lang="en-US"/>
        </a:p>
      </dgm:t>
    </dgm:pt>
    <dgm:pt modelId="{5A790D8B-BBCF-4E14-A936-7B5A6FBB4859}" type="sibTrans" cxnId="{4F5CF0C0-6FDF-4C99-9520-025CD84B325B}">
      <dgm:prSet/>
      <dgm:spPr/>
      <dgm:t>
        <a:bodyPr/>
        <a:lstStyle/>
        <a:p>
          <a:endParaRPr lang="en-US"/>
        </a:p>
      </dgm:t>
    </dgm:pt>
    <dgm:pt modelId="{75328ACB-9289-4E1E-9E21-8120AC352776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Zones of benefits</a:t>
          </a:r>
        </a:p>
      </dgm:t>
    </dgm:pt>
    <dgm:pt modelId="{8FB4A059-70C3-4E63-BFE3-35619E91F7E9}" type="parTrans" cxnId="{869ECBB2-7B97-4D70-9FDD-3D282C750CF9}">
      <dgm:prSet/>
      <dgm:spPr/>
      <dgm:t>
        <a:bodyPr/>
        <a:lstStyle/>
        <a:p>
          <a:endParaRPr lang="en-US"/>
        </a:p>
      </dgm:t>
    </dgm:pt>
    <dgm:pt modelId="{44D362C5-0ED0-4C66-9A61-8F2020ED2A97}" type="sibTrans" cxnId="{869ECBB2-7B97-4D70-9FDD-3D282C750CF9}">
      <dgm:prSet/>
      <dgm:spPr/>
      <dgm:t>
        <a:bodyPr/>
        <a:lstStyle/>
        <a:p>
          <a:endParaRPr lang="en-US"/>
        </a:p>
      </dgm:t>
    </dgm:pt>
    <dgm:pt modelId="{9FC40AC1-90CB-4553-8603-4823D401F70B}">
      <dgm:prSet phldrT="[Text]"/>
      <dgm:spPr>
        <a:ln>
          <a:solidFill>
            <a:srgbClr val="005837"/>
          </a:solidFill>
        </a:ln>
      </dgm:spPr>
      <dgm:t>
        <a:bodyPr/>
        <a:lstStyle/>
        <a:p>
          <a:pPr algn="l"/>
          <a:endParaRPr lang="en-US" sz="2100" dirty="0"/>
        </a:p>
      </dgm:t>
    </dgm:pt>
    <dgm:pt modelId="{D8BD06FA-4668-44A4-A3BE-B4A619E056DE}" type="parTrans" cxnId="{65199A0A-E9D2-48DD-BE46-26EA11FEF066}">
      <dgm:prSet/>
      <dgm:spPr/>
      <dgm:t>
        <a:bodyPr/>
        <a:lstStyle/>
        <a:p>
          <a:endParaRPr lang="en-US"/>
        </a:p>
      </dgm:t>
    </dgm:pt>
    <dgm:pt modelId="{9FED3ECC-05E3-422A-B29B-0F4FFC987D63}" type="sibTrans" cxnId="{65199A0A-E9D2-48DD-BE46-26EA11FEF066}">
      <dgm:prSet/>
      <dgm:spPr/>
      <dgm:t>
        <a:bodyPr/>
        <a:lstStyle/>
        <a:p>
          <a:endParaRPr lang="en-US"/>
        </a:p>
      </dgm:t>
    </dgm:pt>
    <dgm:pt modelId="{8200C9BB-DADD-4F52-8C96-5BBB5B63C376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Various Boundaries </a:t>
          </a:r>
        </a:p>
      </dgm:t>
    </dgm:pt>
    <dgm:pt modelId="{9A7BF12F-EDAA-4787-9151-02FD02C2F151}" type="parTrans" cxnId="{AB2163BD-9DB6-4129-9241-909D14B9B912}">
      <dgm:prSet/>
      <dgm:spPr/>
      <dgm:t>
        <a:bodyPr/>
        <a:lstStyle/>
        <a:p>
          <a:endParaRPr lang="en-US"/>
        </a:p>
      </dgm:t>
    </dgm:pt>
    <dgm:pt modelId="{32DBC20D-B0B2-44A5-94BD-1B88324E6B97}" type="sibTrans" cxnId="{AB2163BD-9DB6-4129-9241-909D14B9B912}">
      <dgm:prSet/>
      <dgm:spPr/>
      <dgm:t>
        <a:bodyPr/>
        <a:lstStyle/>
        <a:p>
          <a:endParaRPr lang="en-US"/>
        </a:p>
      </dgm:t>
    </dgm:pt>
    <dgm:pt modelId="{AE7A6B6C-FD7B-46AA-A183-538609BBCAF5}" type="pres">
      <dgm:prSet presAssocID="{6D8D07D2-EBE6-4E95-A923-0CB6D27BC674}" presName="diagram" presStyleCnt="0">
        <dgm:presLayoutVars>
          <dgm:dir/>
          <dgm:animLvl val="lvl"/>
          <dgm:resizeHandles val="exact"/>
        </dgm:presLayoutVars>
      </dgm:prSet>
      <dgm:spPr/>
    </dgm:pt>
    <dgm:pt modelId="{1547406B-19DD-4C16-B53A-1D8EDF2116F0}" type="pres">
      <dgm:prSet presAssocID="{D9476FBE-8165-4109-9767-A87597B7B4B1}" presName="compNode" presStyleCnt="0"/>
      <dgm:spPr/>
    </dgm:pt>
    <dgm:pt modelId="{44190651-0C80-449F-9CD5-0E7E2B85D186}" type="pres">
      <dgm:prSet presAssocID="{D9476FBE-8165-4109-9767-A87597B7B4B1}" presName="childRect" presStyleLbl="bgAcc1" presStyleIdx="0" presStyleCnt="3" custScaleX="151122" custScaleY="245828">
        <dgm:presLayoutVars>
          <dgm:bulletEnabled val="1"/>
        </dgm:presLayoutVars>
      </dgm:prSet>
      <dgm:spPr/>
    </dgm:pt>
    <dgm:pt modelId="{08F78BE2-074C-4D3B-BBA2-2794A030F533}" type="pres">
      <dgm:prSet presAssocID="{D9476FBE-8165-4109-9767-A87597B7B4B1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8587CA4C-8BFA-4C5E-8127-0898D091276B}" type="pres">
      <dgm:prSet presAssocID="{D9476FBE-8165-4109-9767-A87597B7B4B1}" presName="parentRect" presStyleLbl="alignNode1" presStyleIdx="0" presStyleCnt="3" custScaleX="142569"/>
      <dgm:spPr/>
    </dgm:pt>
    <dgm:pt modelId="{E260ADB4-5D1B-4F2B-90B2-E23F792116A9}" type="pres">
      <dgm:prSet presAssocID="{D9476FBE-8165-4109-9767-A87597B7B4B1}" presName="adorn" presStyleLbl="fgAccFollowNode1" presStyleIdx="0" presStyleCnt="3" custLinFactNeighborX="26889" custLinFactNeighborY="-5268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2700">
          <a:solidFill>
            <a:schemeClr val="tx1"/>
          </a:solidFill>
        </a:ln>
      </dgm:spPr>
    </dgm:pt>
    <dgm:pt modelId="{16B85D19-3F26-4235-9E25-3239A5929994}" type="pres">
      <dgm:prSet presAssocID="{85BDA5A3-5D3F-4773-AC56-47D66DF4991E}" presName="sibTrans" presStyleLbl="sibTrans2D1" presStyleIdx="0" presStyleCnt="0"/>
      <dgm:spPr/>
    </dgm:pt>
    <dgm:pt modelId="{216B797C-AEB2-4D21-94DF-3825D040C082}" type="pres">
      <dgm:prSet presAssocID="{60CD81CE-A125-489B-83C4-D79CB4BDA78F}" presName="compNode" presStyleCnt="0"/>
      <dgm:spPr/>
    </dgm:pt>
    <dgm:pt modelId="{103E9761-C771-4580-A191-3B2F900C0359}" type="pres">
      <dgm:prSet presAssocID="{60CD81CE-A125-489B-83C4-D79CB4BDA78F}" presName="childRect" presStyleLbl="bgAcc1" presStyleIdx="1" presStyleCnt="3" custScaleX="151122" custScaleY="245828">
        <dgm:presLayoutVars>
          <dgm:bulletEnabled val="1"/>
        </dgm:presLayoutVars>
      </dgm:prSet>
      <dgm:spPr/>
    </dgm:pt>
    <dgm:pt modelId="{6A8F63AB-9F25-4EE0-AA2E-D6DDB10D47AF}" type="pres">
      <dgm:prSet presAssocID="{60CD81CE-A125-489B-83C4-D79CB4BDA78F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47707A2C-44EC-4031-B4D3-9C342E5DC270}" type="pres">
      <dgm:prSet presAssocID="{60CD81CE-A125-489B-83C4-D79CB4BDA78F}" presName="parentRect" presStyleLbl="alignNode1" presStyleIdx="1" presStyleCnt="3" custScaleX="136526"/>
      <dgm:spPr/>
    </dgm:pt>
    <dgm:pt modelId="{D4FC4B7B-35B2-4DCF-AEB0-78B511F5BA8E}" type="pres">
      <dgm:prSet presAssocID="{60CD81CE-A125-489B-83C4-D79CB4BDA78F}" presName="adorn" presStyleLbl="fgAccFollowNode1" presStyleIdx="1" presStyleCnt="3" custLinFactNeighborX="12673" custLinFactNeighborY="-5268"/>
      <dgm:spPr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 w="12700">
          <a:solidFill>
            <a:srgbClr val="005837">
              <a:alpha val="90000"/>
            </a:srgbClr>
          </a:solidFill>
        </a:ln>
      </dgm:spPr>
    </dgm:pt>
    <dgm:pt modelId="{DD2AB659-C022-44D7-939A-29E47F26A16C}" type="pres">
      <dgm:prSet presAssocID="{D9FA17C8-81E2-4385-8BCC-6AE41C2E01E3}" presName="sibTrans" presStyleLbl="sibTrans2D1" presStyleIdx="0" presStyleCnt="0"/>
      <dgm:spPr/>
    </dgm:pt>
    <dgm:pt modelId="{8525250D-64EB-4A67-8F9A-C635F3F788D3}" type="pres">
      <dgm:prSet presAssocID="{86239325-1AEB-4F27-9F88-4889EDDF5ABD}" presName="compNode" presStyleCnt="0"/>
      <dgm:spPr/>
    </dgm:pt>
    <dgm:pt modelId="{7016E620-02D1-4762-AA49-8E34062DAD0E}" type="pres">
      <dgm:prSet presAssocID="{86239325-1AEB-4F27-9F88-4889EDDF5ABD}" presName="childRect" presStyleLbl="bgAcc1" presStyleIdx="2" presStyleCnt="3" custScaleX="152085" custScaleY="247395">
        <dgm:presLayoutVars>
          <dgm:bulletEnabled val="1"/>
        </dgm:presLayoutVars>
      </dgm:prSet>
      <dgm:spPr/>
    </dgm:pt>
    <dgm:pt modelId="{C28BB8E6-D1DE-487A-9E2F-F812BBD4CE61}" type="pres">
      <dgm:prSet presAssocID="{86239325-1AEB-4F27-9F88-4889EDDF5ABD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DD7AE484-8290-41F8-9DE9-29DAED3E563D}" type="pres">
      <dgm:prSet presAssocID="{86239325-1AEB-4F27-9F88-4889EDDF5ABD}" presName="parentRect" presStyleLbl="alignNode1" presStyleIdx="2" presStyleCnt="3" custScaleX="138689"/>
      <dgm:spPr/>
    </dgm:pt>
    <dgm:pt modelId="{CD7CBC92-B28A-416F-8CA1-793FD772B2C6}" type="pres">
      <dgm:prSet presAssocID="{86239325-1AEB-4F27-9F88-4889EDDF5ABD}" presName="adorn" presStyleLbl="fgAccFollowNode1" presStyleIdx="2" presStyleCnt="3" custLinFactNeighborX="32280" custLinFactNeighborY="-8488"/>
      <dgm:spPr>
        <a:blipFill rotWithShape="1">
          <a:blip xmlns:r="http://schemas.openxmlformats.org/officeDocument/2006/relationships" r:embed="rId3"/>
          <a:srcRect/>
          <a:stretch>
            <a:fillRect/>
          </a:stretch>
        </a:blipFill>
        <a:ln w="12700"/>
      </dgm:spPr>
    </dgm:pt>
  </dgm:ptLst>
  <dgm:cxnLst>
    <dgm:cxn modelId="{792A3D01-27E1-4879-B76C-853995222B4B}" type="presOf" srcId="{E30A4477-D0D4-400B-BFB3-4EC10E1A092E}" destId="{7016E620-02D1-4762-AA49-8E34062DAD0E}" srcOrd="0" destOrd="3" presId="urn:microsoft.com/office/officeart/2005/8/layout/bList2"/>
    <dgm:cxn modelId="{65199A0A-E9D2-48DD-BE46-26EA11FEF066}" srcId="{D9476FBE-8165-4109-9767-A87597B7B4B1}" destId="{9FC40AC1-90CB-4553-8603-4823D401F70B}" srcOrd="5" destOrd="0" parTransId="{D8BD06FA-4668-44A4-A3BE-B4A619E056DE}" sibTransId="{9FED3ECC-05E3-422A-B29B-0F4FFC987D63}"/>
    <dgm:cxn modelId="{D6D2970C-D2DC-4867-94D7-10E57B6D9359}" srcId="{6D8D07D2-EBE6-4E95-A923-0CB6D27BC674}" destId="{D9476FBE-8165-4109-9767-A87597B7B4B1}" srcOrd="0" destOrd="0" parTransId="{6A337598-C12F-44A7-964F-0F9E14B2425C}" sibTransId="{85BDA5A3-5D3F-4773-AC56-47D66DF4991E}"/>
    <dgm:cxn modelId="{64EF2818-7076-4B40-9F6B-C9E48C6A9BDB}" type="presOf" srcId="{9FC40AC1-90CB-4553-8603-4823D401F70B}" destId="{44190651-0C80-449F-9CD5-0E7E2B85D186}" srcOrd="0" destOrd="5" presId="urn:microsoft.com/office/officeart/2005/8/layout/bList2"/>
    <dgm:cxn modelId="{8A17CB18-D4FE-465B-8E97-9F483019BB6B}" type="presOf" srcId="{904DA389-6D10-4D94-8F9B-2F2A8B545724}" destId="{44190651-0C80-449F-9CD5-0E7E2B85D186}" srcOrd="0" destOrd="2" presId="urn:microsoft.com/office/officeart/2005/8/layout/bList2"/>
    <dgm:cxn modelId="{E3EA9D1F-BE20-48CE-8F12-F22575139F7F}" srcId="{D9476FBE-8165-4109-9767-A87597B7B4B1}" destId="{C3CEC941-DC02-4736-83A1-B2C6C44BD828}" srcOrd="4" destOrd="0" parTransId="{57B2B015-A342-4E88-973D-C662EECD1DC5}" sibTransId="{EA1504F0-2467-4718-8AF8-19281B76548D}"/>
    <dgm:cxn modelId="{C58D3F24-3AEF-41F4-808D-5C247572C956}" type="presOf" srcId="{86239325-1AEB-4F27-9F88-4889EDDF5ABD}" destId="{DD7AE484-8290-41F8-9DE9-29DAED3E563D}" srcOrd="1" destOrd="0" presId="urn:microsoft.com/office/officeart/2005/8/layout/bList2"/>
    <dgm:cxn modelId="{E1DD9824-7BD2-48BF-8C4A-0A8AF14AF7D2}" type="presOf" srcId="{C3CEC941-DC02-4736-83A1-B2C6C44BD828}" destId="{44190651-0C80-449F-9CD5-0E7E2B85D186}" srcOrd="0" destOrd="4" presId="urn:microsoft.com/office/officeart/2005/8/layout/bList2"/>
    <dgm:cxn modelId="{6F2DA328-51CC-423B-A65A-E1C04D04463F}" type="presOf" srcId="{8200C9BB-DADD-4F52-8C96-5BBB5B63C376}" destId="{7016E620-02D1-4762-AA49-8E34062DAD0E}" srcOrd="0" destOrd="1" presId="urn:microsoft.com/office/officeart/2005/8/layout/bList2"/>
    <dgm:cxn modelId="{8348592F-ECD7-477C-A99C-4E4888CADF40}" srcId="{60CD81CE-A125-489B-83C4-D79CB4BDA78F}" destId="{C7B686AB-A3E6-412E-A2AF-BC7833BD3912}" srcOrd="2" destOrd="0" parTransId="{54B5BBD2-7583-4BAB-99E2-0C3924670BB2}" sibTransId="{7ED1ED7E-3D0C-4E4F-9E8F-EC8C885F214E}"/>
    <dgm:cxn modelId="{0DED1431-21D9-4547-9BCE-EA2AC94CDD5A}" type="presOf" srcId="{D9476FBE-8165-4109-9767-A87597B7B4B1}" destId="{8587CA4C-8BFA-4C5E-8127-0898D091276B}" srcOrd="1" destOrd="0" presId="urn:microsoft.com/office/officeart/2005/8/layout/bList2"/>
    <dgm:cxn modelId="{AB666633-1689-404C-8E05-C35551D0FECE}" srcId="{D9476FBE-8165-4109-9767-A87597B7B4B1}" destId="{904DA389-6D10-4D94-8F9B-2F2A8B545724}" srcOrd="2" destOrd="0" parTransId="{D0EFE550-2EFA-4C39-AD03-36478F5F30BA}" sibTransId="{151E7669-1C8C-41ED-9901-E46FE2EA4D74}"/>
    <dgm:cxn modelId="{8306A134-4797-4DB0-A13F-1882E20EFFFA}" type="presOf" srcId="{86239325-1AEB-4F27-9F88-4889EDDF5ABD}" destId="{C28BB8E6-D1DE-487A-9E2F-F812BBD4CE61}" srcOrd="0" destOrd="0" presId="urn:microsoft.com/office/officeart/2005/8/layout/bList2"/>
    <dgm:cxn modelId="{4CD45D37-690C-43DA-B898-F7142A6FF701}" type="presOf" srcId="{771BCCF4-83CF-441D-9019-CAEAA1A6F527}" destId="{44190651-0C80-449F-9CD5-0E7E2B85D186}" srcOrd="0" destOrd="1" presId="urn:microsoft.com/office/officeart/2005/8/layout/bList2"/>
    <dgm:cxn modelId="{2C234239-AF33-40D2-976D-FEB0E73D23F8}" type="presOf" srcId="{75328ACB-9289-4E1E-9E21-8120AC352776}" destId="{44190651-0C80-449F-9CD5-0E7E2B85D186}" srcOrd="0" destOrd="3" presId="urn:microsoft.com/office/officeart/2005/8/layout/bList2"/>
    <dgm:cxn modelId="{A8366C48-FDE3-4EF5-933A-17C5012C7EFF}" type="presOf" srcId="{60CD81CE-A125-489B-83C4-D79CB4BDA78F}" destId="{47707A2C-44EC-4031-B4D3-9C342E5DC270}" srcOrd="1" destOrd="0" presId="urn:microsoft.com/office/officeart/2005/8/layout/bList2"/>
    <dgm:cxn modelId="{7C25A248-347E-470D-8AB0-36652D7D3FA3}" srcId="{86239325-1AEB-4F27-9F88-4889EDDF5ABD}" destId="{82ADC929-7F04-4E01-8946-4661DD5A732F}" srcOrd="2" destOrd="0" parTransId="{549747B0-65F4-4CA8-805D-32FEAB340631}" sibTransId="{5CDC7F43-22F8-4EE0-A652-9A7F996F7171}"/>
    <dgm:cxn modelId="{215C414C-BFF4-4C84-835E-0B5A7EF7775E}" type="presOf" srcId="{C7B686AB-A3E6-412E-A2AF-BC7833BD3912}" destId="{103E9761-C771-4580-A191-3B2F900C0359}" srcOrd="0" destOrd="2" presId="urn:microsoft.com/office/officeart/2005/8/layout/bList2"/>
    <dgm:cxn modelId="{E70D8276-A4CA-443D-860D-AE6A1C09C8CD}" type="presOf" srcId="{FD85D550-8CC9-43B3-9889-C6C3E3DE03DC}" destId="{103E9761-C771-4580-A191-3B2F900C0359}" srcOrd="0" destOrd="0" presId="urn:microsoft.com/office/officeart/2005/8/layout/bList2"/>
    <dgm:cxn modelId="{3367C97F-C9B1-4C76-9356-0F513D09BB04}" srcId="{60CD81CE-A125-489B-83C4-D79CB4BDA78F}" destId="{FD85D550-8CC9-43B3-9889-C6C3E3DE03DC}" srcOrd="0" destOrd="0" parTransId="{220E6A55-B2F7-4210-B250-707B1528F914}" sibTransId="{20B339FC-2147-4053-943C-115DE6E142E1}"/>
    <dgm:cxn modelId="{C1A93484-3E78-43B4-B44A-E79535B08A28}" type="presOf" srcId="{60CD81CE-A125-489B-83C4-D79CB4BDA78F}" destId="{6A8F63AB-9F25-4EE0-AA2E-D6DDB10D47AF}" srcOrd="0" destOrd="0" presId="urn:microsoft.com/office/officeart/2005/8/layout/bList2"/>
    <dgm:cxn modelId="{D6756784-DA2C-4733-8071-59355BB0B6E7}" type="presOf" srcId="{85BDA5A3-5D3F-4773-AC56-47D66DF4991E}" destId="{16B85D19-3F26-4235-9E25-3239A5929994}" srcOrd="0" destOrd="0" presId="urn:microsoft.com/office/officeart/2005/8/layout/bList2"/>
    <dgm:cxn modelId="{47F75A89-FFC2-49F5-A9F3-26CE01171D43}" type="presOf" srcId="{C141F900-B5BA-45A8-8865-0327F7398FE7}" destId="{103E9761-C771-4580-A191-3B2F900C0359}" srcOrd="0" destOrd="1" presId="urn:microsoft.com/office/officeart/2005/8/layout/bList2"/>
    <dgm:cxn modelId="{34E9C196-0BA0-4211-8D57-ED64882B91A1}" srcId="{60CD81CE-A125-489B-83C4-D79CB4BDA78F}" destId="{C141F900-B5BA-45A8-8865-0327F7398FE7}" srcOrd="1" destOrd="0" parTransId="{AFC4EFCE-FB6E-48C6-830E-12F7230253C6}" sibTransId="{4200BE12-22DC-4882-82AF-CFC2A7B0CDBD}"/>
    <dgm:cxn modelId="{00E35199-3771-4197-AC8F-98721FBFBA99}" srcId="{86239325-1AEB-4F27-9F88-4889EDDF5ABD}" destId="{E30A4477-D0D4-400B-BFB3-4EC10E1A092E}" srcOrd="3" destOrd="0" parTransId="{256AC402-8D86-409D-B0EE-6DB3B342177F}" sibTransId="{67572486-FC85-4788-BC5C-C2B78B504CC6}"/>
    <dgm:cxn modelId="{9719E6A8-B62C-4DDF-8CC4-48F0F1C7AB7B}" type="presOf" srcId="{797CEED6-69DE-4B49-BDCB-F2632CBEC735}" destId="{7016E620-02D1-4762-AA49-8E34062DAD0E}" srcOrd="0" destOrd="0" presId="urn:microsoft.com/office/officeart/2005/8/layout/bList2"/>
    <dgm:cxn modelId="{869ECBB2-7B97-4D70-9FDD-3D282C750CF9}" srcId="{D9476FBE-8165-4109-9767-A87597B7B4B1}" destId="{75328ACB-9289-4E1E-9E21-8120AC352776}" srcOrd="3" destOrd="0" parTransId="{8FB4A059-70C3-4E63-BFE3-35619E91F7E9}" sibTransId="{44D362C5-0ED0-4C66-9A61-8F2020ED2A97}"/>
    <dgm:cxn modelId="{DFF1C4B3-38B9-421C-BD73-A137224E9911}" srcId="{6D8D07D2-EBE6-4E95-A923-0CB6D27BC674}" destId="{86239325-1AEB-4F27-9F88-4889EDDF5ABD}" srcOrd="2" destOrd="0" parTransId="{4CE64674-AA6E-4400-8DED-A5F7FF1CE058}" sibTransId="{4B17E3A0-ED22-4CBC-941B-B42D8EDFB5CB}"/>
    <dgm:cxn modelId="{0FFFEAB7-CA6A-4E8A-B3BF-E5599916B7D1}" srcId="{6D8D07D2-EBE6-4E95-A923-0CB6D27BC674}" destId="{60CD81CE-A125-489B-83C4-D79CB4BDA78F}" srcOrd="1" destOrd="0" parTransId="{E1747C5B-F74C-44D6-9728-31054A19DBE8}" sibTransId="{D9FA17C8-81E2-4385-8BCC-6AE41C2E01E3}"/>
    <dgm:cxn modelId="{D86C1CB9-0290-4021-95C1-817CFA980717}" type="presOf" srcId="{D9FA17C8-81E2-4385-8BCC-6AE41C2E01E3}" destId="{DD2AB659-C022-44D7-939A-29E47F26A16C}" srcOrd="0" destOrd="0" presId="urn:microsoft.com/office/officeart/2005/8/layout/bList2"/>
    <dgm:cxn modelId="{251317BC-B26A-478C-AA8A-20EC9C673A39}" srcId="{D9476FBE-8165-4109-9767-A87597B7B4B1}" destId="{4484781B-0E1D-400E-A6CA-7F1F0817785D}" srcOrd="0" destOrd="0" parTransId="{266E7AE5-CDD9-42A7-980D-719DF528ACCA}" sibTransId="{A41949C9-E9BE-4B1E-ACA2-00F5788BFB86}"/>
    <dgm:cxn modelId="{AB2163BD-9DB6-4129-9241-909D14B9B912}" srcId="{86239325-1AEB-4F27-9F88-4889EDDF5ABD}" destId="{8200C9BB-DADD-4F52-8C96-5BBB5B63C376}" srcOrd="1" destOrd="0" parTransId="{9A7BF12F-EDAA-4787-9151-02FD02C2F151}" sibTransId="{32DBC20D-B0B2-44A5-94BD-1B88324E6B97}"/>
    <dgm:cxn modelId="{4F5CF0C0-6FDF-4C99-9520-025CD84B325B}" srcId="{D9476FBE-8165-4109-9767-A87597B7B4B1}" destId="{771BCCF4-83CF-441D-9019-CAEAA1A6F527}" srcOrd="1" destOrd="0" parTransId="{2F2F0A35-AA7E-40B2-B52F-77E9079EDC93}" sibTransId="{5A790D8B-BBCF-4E14-A936-7B5A6FBB4859}"/>
    <dgm:cxn modelId="{4A2867C8-2354-471E-B40C-953A5F25B17F}" type="presOf" srcId="{6D8D07D2-EBE6-4E95-A923-0CB6D27BC674}" destId="{AE7A6B6C-FD7B-46AA-A183-538609BBCAF5}" srcOrd="0" destOrd="0" presId="urn:microsoft.com/office/officeart/2005/8/layout/bList2"/>
    <dgm:cxn modelId="{05FF51CB-EB07-4E36-8065-9F2B0562644E}" type="presOf" srcId="{82ADC929-7F04-4E01-8946-4661DD5A732F}" destId="{7016E620-02D1-4762-AA49-8E34062DAD0E}" srcOrd="0" destOrd="2" presId="urn:microsoft.com/office/officeart/2005/8/layout/bList2"/>
    <dgm:cxn modelId="{17FF63CC-C528-4818-AF89-04B81EC985B6}" type="presOf" srcId="{D9476FBE-8165-4109-9767-A87597B7B4B1}" destId="{08F78BE2-074C-4D3B-BBA2-2794A030F533}" srcOrd="0" destOrd="0" presId="urn:microsoft.com/office/officeart/2005/8/layout/bList2"/>
    <dgm:cxn modelId="{07D27FD1-6B39-4748-A0DE-ED98349D911A}" srcId="{86239325-1AEB-4F27-9F88-4889EDDF5ABD}" destId="{797CEED6-69DE-4B49-BDCB-F2632CBEC735}" srcOrd="0" destOrd="0" parTransId="{4FFD95B6-9AC0-4D35-8D8A-D90A65B46D99}" sibTransId="{46D0A655-908A-4DEC-975D-37113A17D9BF}"/>
    <dgm:cxn modelId="{CDD93CE1-04C1-468F-8D07-52F0B7E30FA0}" type="presOf" srcId="{4484781B-0E1D-400E-A6CA-7F1F0817785D}" destId="{44190651-0C80-449F-9CD5-0E7E2B85D186}" srcOrd="0" destOrd="0" presId="urn:microsoft.com/office/officeart/2005/8/layout/bList2"/>
    <dgm:cxn modelId="{0172A937-E7B7-436F-BC16-173AA2D23EB0}" type="presParOf" srcId="{AE7A6B6C-FD7B-46AA-A183-538609BBCAF5}" destId="{1547406B-19DD-4C16-B53A-1D8EDF2116F0}" srcOrd="0" destOrd="0" presId="urn:microsoft.com/office/officeart/2005/8/layout/bList2"/>
    <dgm:cxn modelId="{FE240297-C480-44DE-912B-718D841D6BA9}" type="presParOf" srcId="{1547406B-19DD-4C16-B53A-1D8EDF2116F0}" destId="{44190651-0C80-449F-9CD5-0E7E2B85D186}" srcOrd="0" destOrd="0" presId="urn:microsoft.com/office/officeart/2005/8/layout/bList2"/>
    <dgm:cxn modelId="{731D05B8-C2D8-41F5-B9D3-4C95880EACF0}" type="presParOf" srcId="{1547406B-19DD-4C16-B53A-1D8EDF2116F0}" destId="{08F78BE2-074C-4D3B-BBA2-2794A030F533}" srcOrd="1" destOrd="0" presId="urn:microsoft.com/office/officeart/2005/8/layout/bList2"/>
    <dgm:cxn modelId="{4E49F07F-E33F-4CD9-9A4A-48D22DE310DF}" type="presParOf" srcId="{1547406B-19DD-4C16-B53A-1D8EDF2116F0}" destId="{8587CA4C-8BFA-4C5E-8127-0898D091276B}" srcOrd="2" destOrd="0" presId="urn:microsoft.com/office/officeart/2005/8/layout/bList2"/>
    <dgm:cxn modelId="{DDE78E01-0D8B-46C3-BDEF-19A7B80BA3FC}" type="presParOf" srcId="{1547406B-19DD-4C16-B53A-1D8EDF2116F0}" destId="{E260ADB4-5D1B-4F2B-90B2-E23F792116A9}" srcOrd="3" destOrd="0" presId="urn:microsoft.com/office/officeart/2005/8/layout/bList2"/>
    <dgm:cxn modelId="{19C6C236-C425-426B-9735-A0C1A174E0A8}" type="presParOf" srcId="{AE7A6B6C-FD7B-46AA-A183-538609BBCAF5}" destId="{16B85D19-3F26-4235-9E25-3239A5929994}" srcOrd="1" destOrd="0" presId="urn:microsoft.com/office/officeart/2005/8/layout/bList2"/>
    <dgm:cxn modelId="{2536BB2B-7D43-4617-9EE2-351991BE7D7E}" type="presParOf" srcId="{AE7A6B6C-FD7B-46AA-A183-538609BBCAF5}" destId="{216B797C-AEB2-4D21-94DF-3825D040C082}" srcOrd="2" destOrd="0" presId="urn:microsoft.com/office/officeart/2005/8/layout/bList2"/>
    <dgm:cxn modelId="{5686B4D4-23D5-458D-98D2-0181538E02F3}" type="presParOf" srcId="{216B797C-AEB2-4D21-94DF-3825D040C082}" destId="{103E9761-C771-4580-A191-3B2F900C0359}" srcOrd="0" destOrd="0" presId="urn:microsoft.com/office/officeart/2005/8/layout/bList2"/>
    <dgm:cxn modelId="{7C00AB3A-1644-4D2F-AB20-248290DB76A7}" type="presParOf" srcId="{216B797C-AEB2-4D21-94DF-3825D040C082}" destId="{6A8F63AB-9F25-4EE0-AA2E-D6DDB10D47AF}" srcOrd="1" destOrd="0" presId="urn:microsoft.com/office/officeart/2005/8/layout/bList2"/>
    <dgm:cxn modelId="{728908B4-0A4E-4051-A385-10B10FF192C8}" type="presParOf" srcId="{216B797C-AEB2-4D21-94DF-3825D040C082}" destId="{47707A2C-44EC-4031-B4D3-9C342E5DC270}" srcOrd="2" destOrd="0" presId="urn:microsoft.com/office/officeart/2005/8/layout/bList2"/>
    <dgm:cxn modelId="{49EDF21E-F53E-4923-9871-5D4AAFF0FBFE}" type="presParOf" srcId="{216B797C-AEB2-4D21-94DF-3825D040C082}" destId="{D4FC4B7B-35B2-4DCF-AEB0-78B511F5BA8E}" srcOrd="3" destOrd="0" presId="urn:microsoft.com/office/officeart/2005/8/layout/bList2"/>
    <dgm:cxn modelId="{17FB60AF-AA36-405B-BC79-16BA3175D190}" type="presParOf" srcId="{AE7A6B6C-FD7B-46AA-A183-538609BBCAF5}" destId="{DD2AB659-C022-44D7-939A-29E47F26A16C}" srcOrd="3" destOrd="0" presId="urn:microsoft.com/office/officeart/2005/8/layout/bList2"/>
    <dgm:cxn modelId="{06565CEB-7CD1-4606-8E3E-F6B997DEA2D1}" type="presParOf" srcId="{AE7A6B6C-FD7B-46AA-A183-538609BBCAF5}" destId="{8525250D-64EB-4A67-8F9A-C635F3F788D3}" srcOrd="4" destOrd="0" presId="urn:microsoft.com/office/officeart/2005/8/layout/bList2"/>
    <dgm:cxn modelId="{E24ADFA2-7B07-4B53-913B-825F0210B607}" type="presParOf" srcId="{8525250D-64EB-4A67-8F9A-C635F3F788D3}" destId="{7016E620-02D1-4762-AA49-8E34062DAD0E}" srcOrd="0" destOrd="0" presId="urn:microsoft.com/office/officeart/2005/8/layout/bList2"/>
    <dgm:cxn modelId="{FAE19525-F40D-4049-A1C1-66F4729B047A}" type="presParOf" srcId="{8525250D-64EB-4A67-8F9A-C635F3F788D3}" destId="{C28BB8E6-D1DE-487A-9E2F-F812BBD4CE61}" srcOrd="1" destOrd="0" presId="urn:microsoft.com/office/officeart/2005/8/layout/bList2"/>
    <dgm:cxn modelId="{3D0BF424-8B8A-43E1-B8BB-25D43D000FD9}" type="presParOf" srcId="{8525250D-64EB-4A67-8F9A-C635F3F788D3}" destId="{DD7AE484-8290-41F8-9DE9-29DAED3E563D}" srcOrd="2" destOrd="0" presId="urn:microsoft.com/office/officeart/2005/8/layout/bList2"/>
    <dgm:cxn modelId="{AC208E63-360E-4C9E-8B63-971339C4CB04}" type="presParOf" srcId="{8525250D-64EB-4A67-8F9A-C635F3F788D3}" destId="{CD7CBC92-B28A-416F-8CA1-793FD772B2C6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D8D07D2-EBE6-4E95-A923-0CB6D27BC674}" type="doc">
      <dgm:prSet loTypeId="urn:microsoft.com/office/officeart/2005/8/layout/b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9476FBE-8165-4109-9767-A87597B7B4B1}">
      <dgm:prSet phldrT="[Text]"/>
      <dgm:spPr>
        <a:solidFill>
          <a:srgbClr val="005837">
            <a:alpha val="15000"/>
          </a:srgbClr>
        </a:solidFill>
        <a:ln>
          <a:solidFill>
            <a:srgbClr val="005837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Financial</a:t>
          </a:r>
        </a:p>
      </dgm:t>
    </dgm:pt>
    <dgm:pt modelId="{6A337598-C12F-44A7-964F-0F9E14B2425C}" type="parTrans" cxnId="{D6D2970C-D2DC-4867-94D7-10E57B6D9359}">
      <dgm:prSet/>
      <dgm:spPr/>
      <dgm:t>
        <a:bodyPr/>
        <a:lstStyle/>
        <a:p>
          <a:endParaRPr lang="en-US"/>
        </a:p>
      </dgm:t>
    </dgm:pt>
    <dgm:pt modelId="{85BDA5A3-5D3F-4773-AC56-47D66DF4991E}" type="sibTrans" cxnId="{D6D2970C-D2DC-4867-94D7-10E57B6D9359}">
      <dgm:prSet/>
      <dgm:spPr/>
      <dgm:t>
        <a:bodyPr/>
        <a:lstStyle/>
        <a:p>
          <a:endParaRPr lang="en-US"/>
        </a:p>
      </dgm:t>
    </dgm:pt>
    <dgm:pt modelId="{60CD81CE-A125-489B-83C4-D79CB4BDA78F}">
      <dgm:prSet phldrT="[Text]"/>
      <dgm:spPr>
        <a:solidFill>
          <a:srgbClr val="005837">
            <a:alpha val="15000"/>
          </a:srgbClr>
        </a:solidFill>
        <a:ln>
          <a:solidFill>
            <a:srgbClr val="005837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Legal 	</a:t>
          </a:r>
        </a:p>
      </dgm:t>
    </dgm:pt>
    <dgm:pt modelId="{E1747C5B-F74C-44D6-9728-31054A19DBE8}" type="parTrans" cxnId="{0FFFEAB7-CA6A-4E8A-B3BF-E5599916B7D1}">
      <dgm:prSet/>
      <dgm:spPr/>
      <dgm:t>
        <a:bodyPr/>
        <a:lstStyle/>
        <a:p>
          <a:endParaRPr lang="en-US"/>
        </a:p>
      </dgm:t>
    </dgm:pt>
    <dgm:pt modelId="{D9FA17C8-81E2-4385-8BCC-6AE41C2E01E3}" type="sibTrans" cxnId="{0FFFEAB7-CA6A-4E8A-B3BF-E5599916B7D1}">
      <dgm:prSet/>
      <dgm:spPr/>
      <dgm:t>
        <a:bodyPr/>
        <a:lstStyle/>
        <a:p>
          <a:endParaRPr lang="en-US"/>
        </a:p>
      </dgm:t>
    </dgm:pt>
    <dgm:pt modelId="{86239325-1AEB-4F27-9F88-4889EDDF5ABD}">
      <dgm:prSet phldrT="[Text]"/>
      <dgm:spPr>
        <a:solidFill>
          <a:srgbClr val="005837">
            <a:alpha val="15000"/>
          </a:srgbClr>
        </a:solidFill>
        <a:ln>
          <a:solidFill>
            <a:srgbClr val="005837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Political</a:t>
          </a:r>
        </a:p>
      </dgm:t>
    </dgm:pt>
    <dgm:pt modelId="{4CE64674-AA6E-4400-8DED-A5F7FF1CE058}" type="parTrans" cxnId="{DFF1C4B3-38B9-421C-BD73-A137224E9911}">
      <dgm:prSet/>
      <dgm:spPr/>
      <dgm:t>
        <a:bodyPr/>
        <a:lstStyle/>
        <a:p>
          <a:endParaRPr lang="en-US"/>
        </a:p>
      </dgm:t>
    </dgm:pt>
    <dgm:pt modelId="{4B17E3A0-ED22-4CBC-941B-B42D8EDFB5CB}" type="sibTrans" cxnId="{DFF1C4B3-38B9-421C-BD73-A137224E9911}">
      <dgm:prSet/>
      <dgm:spPr/>
      <dgm:t>
        <a:bodyPr/>
        <a:lstStyle/>
        <a:p>
          <a:endParaRPr lang="en-US"/>
        </a:p>
      </dgm:t>
    </dgm:pt>
    <dgm:pt modelId="{797CEED6-69DE-4B49-BDCB-F2632CBEC735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Participating Registered Voters</a:t>
          </a:r>
        </a:p>
      </dgm:t>
    </dgm:pt>
    <dgm:pt modelId="{4FFD95B6-9AC0-4D35-8D8A-D90A65B46D99}" type="parTrans" cxnId="{07D27FD1-6B39-4748-A0DE-ED98349D911A}">
      <dgm:prSet/>
      <dgm:spPr/>
      <dgm:t>
        <a:bodyPr/>
        <a:lstStyle/>
        <a:p>
          <a:endParaRPr lang="en-US"/>
        </a:p>
      </dgm:t>
    </dgm:pt>
    <dgm:pt modelId="{46D0A655-908A-4DEC-975D-37113A17D9BF}" type="sibTrans" cxnId="{07D27FD1-6B39-4748-A0DE-ED98349D911A}">
      <dgm:prSet/>
      <dgm:spPr/>
      <dgm:t>
        <a:bodyPr/>
        <a:lstStyle/>
        <a:p>
          <a:endParaRPr lang="en-US"/>
        </a:p>
      </dgm:t>
    </dgm:pt>
    <dgm:pt modelId="{4484781B-0E1D-400E-A6CA-7F1F0817785D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Operation, Maintenance and improvements</a:t>
          </a:r>
        </a:p>
      </dgm:t>
    </dgm:pt>
    <dgm:pt modelId="{266E7AE5-CDD9-42A7-980D-719DF528ACCA}" type="parTrans" cxnId="{251317BC-B26A-478C-AA8A-20EC9C673A39}">
      <dgm:prSet/>
      <dgm:spPr/>
      <dgm:t>
        <a:bodyPr/>
        <a:lstStyle/>
        <a:p>
          <a:endParaRPr lang="en-US"/>
        </a:p>
      </dgm:t>
    </dgm:pt>
    <dgm:pt modelId="{A41949C9-E9BE-4B1E-ACA2-00F5788BFB86}" type="sibTrans" cxnId="{251317BC-B26A-478C-AA8A-20EC9C673A39}">
      <dgm:prSet/>
      <dgm:spPr/>
      <dgm:t>
        <a:bodyPr/>
        <a:lstStyle/>
        <a:p>
          <a:endParaRPr lang="en-US"/>
        </a:p>
      </dgm:t>
    </dgm:pt>
    <dgm:pt modelId="{FD85D550-8CC9-43B3-9889-C6C3E3DE03DC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Govt. Code § 50075</a:t>
          </a:r>
        </a:p>
      </dgm:t>
    </dgm:pt>
    <dgm:pt modelId="{220E6A55-B2F7-4210-B250-707B1528F914}" type="parTrans" cxnId="{3367C97F-C9B1-4C76-9356-0F513D09BB04}">
      <dgm:prSet/>
      <dgm:spPr/>
      <dgm:t>
        <a:bodyPr/>
        <a:lstStyle/>
        <a:p>
          <a:endParaRPr lang="en-US"/>
        </a:p>
      </dgm:t>
    </dgm:pt>
    <dgm:pt modelId="{20B339FC-2147-4053-943C-115DE6E142E1}" type="sibTrans" cxnId="{3367C97F-C9B1-4C76-9356-0F513D09BB04}">
      <dgm:prSet/>
      <dgm:spPr/>
      <dgm:t>
        <a:bodyPr/>
        <a:lstStyle/>
        <a:p>
          <a:endParaRPr lang="en-US"/>
        </a:p>
      </dgm:t>
    </dgm:pt>
    <dgm:pt modelId="{9FC40AC1-90CB-4553-8603-4823D401F70B}">
      <dgm:prSet phldrT="[Text]"/>
      <dgm:spPr>
        <a:ln>
          <a:solidFill>
            <a:srgbClr val="005837"/>
          </a:solidFill>
        </a:ln>
      </dgm:spPr>
      <dgm:t>
        <a:bodyPr/>
        <a:lstStyle/>
        <a:p>
          <a:pPr algn="l"/>
          <a:endParaRPr lang="en-US" sz="2100" dirty="0"/>
        </a:p>
      </dgm:t>
    </dgm:pt>
    <dgm:pt modelId="{D8BD06FA-4668-44A4-A3BE-B4A619E056DE}" type="parTrans" cxnId="{65199A0A-E9D2-48DD-BE46-26EA11FEF066}">
      <dgm:prSet/>
      <dgm:spPr/>
      <dgm:t>
        <a:bodyPr/>
        <a:lstStyle/>
        <a:p>
          <a:endParaRPr lang="en-US"/>
        </a:p>
      </dgm:t>
    </dgm:pt>
    <dgm:pt modelId="{9FED3ECC-05E3-422A-B29B-0F4FFC987D63}" type="sibTrans" cxnId="{65199A0A-E9D2-48DD-BE46-26EA11FEF066}">
      <dgm:prSet/>
      <dgm:spPr/>
      <dgm:t>
        <a:bodyPr/>
        <a:lstStyle/>
        <a:p>
          <a:endParaRPr lang="en-US"/>
        </a:p>
      </dgm:t>
    </dgm:pt>
    <dgm:pt modelId="{69ABE5FE-5DE7-467C-B018-4E0B44A3DE53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endParaRPr lang="en-US" sz="2000" dirty="0"/>
        </a:p>
      </dgm:t>
    </dgm:pt>
    <dgm:pt modelId="{49C85216-E319-4115-9279-30FC3F682AB1}" type="parTrans" cxnId="{62756AF3-AE1E-494A-BAFF-AED7AA050234}">
      <dgm:prSet/>
      <dgm:spPr/>
      <dgm:t>
        <a:bodyPr/>
        <a:lstStyle/>
        <a:p>
          <a:endParaRPr lang="en-US"/>
        </a:p>
      </dgm:t>
    </dgm:pt>
    <dgm:pt modelId="{89D3FC64-21CE-4EDB-A08B-31D0E3521DC5}" type="sibTrans" cxnId="{62756AF3-AE1E-494A-BAFF-AED7AA050234}">
      <dgm:prSet/>
      <dgm:spPr/>
      <dgm:t>
        <a:bodyPr/>
        <a:lstStyle/>
        <a:p>
          <a:endParaRPr lang="en-US"/>
        </a:p>
      </dgm:t>
    </dgm:pt>
    <dgm:pt modelId="{87480B23-4374-4751-B751-CD56EC97060B}">
      <dgm:prSet custT="1"/>
      <dgm:spPr/>
      <dgm:t>
        <a:bodyPr/>
        <a:lstStyle/>
        <a:p>
          <a:pPr algn="l"/>
          <a:r>
            <a:rPr lang="en-US" sz="2000" dirty="0"/>
            <a:t>Uniformity requirement for improved land uses</a:t>
          </a:r>
        </a:p>
      </dgm:t>
    </dgm:pt>
    <dgm:pt modelId="{B645DEFA-78D6-42A0-9BAD-547D499A3574}" type="parTrans" cxnId="{96A4A3AE-C848-4054-840B-E91618D318E6}">
      <dgm:prSet/>
      <dgm:spPr/>
      <dgm:t>
        <a:bodyPr/>
        <a:lstStyle/>
        <a:p>
          <a:endParaRPr lang="en-US"/>
        </a:p>
      </dgm:t>
    </dgm:pt>
    <dgm:pt modelId="{48D323FD-5E65-46FD-BD88-D3679A64354F}" type="sibTrans" cxnId="{96A4A3AE-C848-4054-840B-E91618D318E6}">
      <dgm:prSet/>
      <dgm:spPr/>
      <dgm:t>
        <a:bodyPr/>
        <a:lstStyle/>
        <a:p>
          <a:endParaRPr lang="en-US"/>
        </a:p>
      </dgm:t>
    </dgm:pt>
    <dgm:pt modelId="{09CF08E6-4AD3-4A87-9093-53F14A04682D}">
      <dgm:prSet custT="1"/>
      <dgm:spPr/>
      <dgm:t>
        <a:bodyPr/>
        <a:lstStyle/>
        <a:p>
          <a:pPr algn="l"/>
          <a:r>
            <a:rPr lang="en-US" sz="2000" dirty="0"/>
            <a:t>Wide use of funds</a:t>
          </a:r>
        </a:p>
      </dgm:t>
    </dgm:pt>
    <dgm:pt modelId="{CADABF5C-5620-464F-A555-D657FD370271}" type="parTrans" cxnId="{6E43A56F-A7EE-488E-A2F2-7114DBF9E68C}">
      <dgm:prSet/>
      <dgm:spPr/>
      <dgm:t>
        <a:bodyPr/>
        <a:lstStyle/>
        <a:p>
          <a:endParaRPr lang="en-US"/>
        </a:p>
      </dgm:t>
    </dgm:pt>
    <dgm:pt modelId="{3005B264-6DDB-4F08-9EC3-9B0824AAF8D0}" type="sibTrans" cxnId="{6E43A56F-A7EE-488E-A2F2-7114DBF9E68C}">
      <dgm:prSet/>
      <dgm:spPr/>
      <dgm:t>
        <a:bodyPr/>
        <a:lstStyle/>
        <a:p>
          <a:endParaRPr lang="en-US"/>
        </a:p>
      </dgm:t>
    </dgm:pt>
    <dgm:pt modelId="{3F203335-4151-4172-B294-0C598C7F5771}">
      <dgm:prSet custT="1"/>
      <dgm:spPr/>
      <dgm:t>
        <a:bodyPr/>
        <a:lstStyle/>
        <a:p>
          <a:pPr algn="l"/>
          <a:r>
            <a:rPr lang="en-US" sz="2000" dirty="0"/>
            <a:t>No legal justification necessary</a:t>
          </a:r>
        </a:p>
      </dgm:t>
    </dgm:pt>
    <dgm:pt modelId="{1F55D8FC-616C-4736-9BE0-70EE4FA0AEE6}" type="parTrans" cxnId="{22DFC33D-B824-40C8-8363-12C3EE2AD9BE}">
      <dgm:prSet/>
      <dgm:spPr/>
      <dgm:t>
        <a:bodyPr/>
        <a:lstStyle/>
        <a:p>
          <a:endParaRPr lang="en-US"/>
        </a:p>
      </dgm:t>
    </dgm:pt>
    <dgm:pt modelId="{DF76505F-BAE9-46BF-ADA1-76CCEA8BFA2B}" type="sibTrans" cxnId="{22DFC33D-B824-40C8-8363-12C3EE2AD9BE}">
      <dgm:prSet/>
      <dgm:spPr/>
      <dgm:t>
        <a:bodyPr/>
        <a:lstStyle/>
        <a:p>
          <a:endParaRPr lang="en-US"/>
        </a:p>
      </dgm:t>
    </dgm:pt>
    <dgm:pt modelId="{80CEB789-4D27-47F5-A1FA-A17775B80A13}">
      <dgm:prSet custT="1"/>
      <dgm:spPr/>
      <dgm:t>
        <a:bodyPr/>
        <a:lstStyle/>
        <a:p>
          <a:pPr algn="l"/>
          <a:r>
            <a:rPr lang="en-US" sz="2000" dirty="0"/>
            <a:t>Uniformity requirement for improved land uses</a:t>
          </a:r>
        </a:p>
      </dgm:t>
    </dgm:pt>
    <dgm:pt modelId="{036AA22A-B689-4D3B-9254-923543F5F602}" type="parTrans" cxnId="{CEB667F7-88F5-4C0C-8ECE-4A86A09EC770}">
      <dgm:prSet/>
      <dgm:spPr/>
      <dgm:t>
        <a:bodyPr/>
        <a:lstStyle/>
        <a:p>
          <a:endParaRPr lang="en-US"/>
        </a:p>
      </dgm:t>
    </dgm:pt>
    <dgm:pt modelId="{97FFD2A9-C20C-4324-969A-133FB1E3FCB4}" type="sibTrans" cxnId="{CEB667F7-88F5-4C0C-8ECE-4A86A09EC770}">
      <dgm:prSet/>
      <dgm:spPr/>
      <dgm:t>
        <a:bodyPr/>
        <a:lstStyle/>
        <a:p>
          <a:endParaRPr lang="en-US"/>
        </a:p>
      </dgm:t>
    </dgm:pt>
    <dgm:pt modelId="{FED2E10F-6229-4339-86B1-AC946A546039}">
      <dgm:prSet custT="1"/>
      <dgm:spPr/>
      <dgm:t>
        <a:bodyPr/>
        <a:lstStyle/>
        <a:p>
          <a:pPr algn="l"/>
          <a:r>
            <a:rPr lang="en-US" sz="2000" dirty="0"/>
            <a:t>Low risk of challenge</a:t>
          </a:r>
        </a:p>
      </dgm:t>
    </dgm:pt>
    <dgm:pt modelId="{79B7E977-87C0-4E4A-86D6-8C0A9EAD46C9}" type="parTrans" cxnId="{C56B1696-AE6C-42C2-BF91-31941EF3FAE4}">
      <dgm:prSet/>
      <dgm:spPr/>
      <dgm:t>
        <a:bodyPr/>
        <a:lstStyle/>
        <a:p>
          <a:endParaRPr lang="en-US"/>
        </a:p>
      </dgm:t>
    </dgm:pt>
    <dgm:pt modelId="{00F56F24-8309-49F0-A0FB-419A717C529D}" type="sibTrans" cxnId="{C56B1696-AE6C-42C2-BF91-31941EF3FAE4}">
      <dgm:prSet/>
      <dgm:spPr/>
      <dgm:t>
        <a:bodyPr/>
        <a:lstStyle/>
        <a:p>
          <a:endParaRPr lang="en-US"/>
        </a:p>
      </dgm:t>
    </dgm:pt>
    <dgm:pt modelId="{D1135A17-A6A8-491A-9B4F-AC0D5667F608}">
      <dgm:prSet custT="1"/>
      <dgm:spPr/>
      <dgm:t>
        <a:bodyPr/>
        <a:lstStyle/>
        <a:p>
          <a:pPr algn="l"/>
          <a:r>
            <a:rPr lang="en-US" sz="2000" b="1" dirty="0"/>
            <a:t>2/3rds support threshold</a:t>
          </a:r>
        </a:p>
      </dgm:t>
    </dgm:pt>
    <dgm:pt modelId="{33FD814E-241D-461C-8133-E4F8EEA3EAFC}" type="parTrans" cxnId="{7A90A112-77C6-4455-A433-198180699B18}">
      <dgm:prSet/>
      <dgm:spPr/>
      <dgm:t>
        <a:bodyPr/>
        <a:lstStyle/>
        <a:p>
          <a:endParaRPr lang="en-US"/>
        </a:p>
      </dgm:t>
    </dgm:pt>
    <dgm:pt modelId="{F72B1694-3DA7-4034-832A-83F0A723E81A}" type="sibTrans" cxnId="{7A90A112-77C6-4455-A433-198180699B18}">
      <dgm:prSet/>
      <dgm:spPr/>
      <dgm:t>
        <a:bodyPr/>
        <a:lstStyle/>
        <a:p>
          <a:endParaRPr lang="en-US"/>
        </a:p>
      </dgm:t>
    </dgm:pt>
    <dgm:pt modelId="{2D969240-37FA-4E2D-8F5C-BBDB1B4FC215}">
      <dgm:prSet custT="1"/>
      <dgm:spPr/>
      <dgm:t>
        <a:bodyPr/>
        <a:lstStyle/>
        <a:p>
          <a:pPr algn="l"/>
          <a:r>
            <a:rPr lang="en-US" sz="2000" dirty="0"/>
            <a:t>Polling place OR 30-Day Mailed Ballot </a:t>
          </a:r>
        </a:p>
      </dgm:t>
    </dgm:pt>
    <dgm:pt modelId="{537154E4-7F5B-4133-961F-07B1BD0FC1CC}" type="parTrans" cxnId="{78FEED03-210B-49DB-AEDD-DFF633ECBEE3}">
      <dgm:prSet/>
      <dgm:spPr/>
      <dgm:t>
        <a:bodyPr/>
        <a:lstStyle/>
        <a:p>
          <a:endParaRPr lang="en-US"/>
        </a:p>
      </dgm:t>
    </dgm:pt>
    <dgm:pt modelId="{9D022F75-5799-412D-8BE6-5D829FD144FF}" type="sibTrans" cxnId="{78FEED03-210B-49DB-AEDD-DFF633ECBEE3}">
      <dgm:prSet/>
      <dgm:spPr/>
      <dgm:t>
        <a:bodyPr/>
        <a:lstStyle/>
        <a:p>
          <a:endParaRPr lang="en-US"/>
        </a:p>
      </dgm:t>
    </dgm:pt>
    <dgm:pt modelId="{86639756-6D5A-4CA6-B47D-CAB22AC1ED92}">
      <dgm:prSet custT="1"/>
      <dgm:spPr/>
      <dgm:t>
        <a:bodyPr/>
        <a:lstStyle/>
        <a:p>
          <a:pPr algn="l"/>
          <a:endParaRPr lang="en-US" sz="2000" dirty="0"/>
        </a:p>
      </dgm:t>
    </dgm:pt>
    <dgm:pt modelId="{8B490994-2403-45C9-AD79-16BC0E19A572}" type="parTrans" cxnId="{7C9F8AA9-830C-4F6E-9090-D9A96B47F8FC}">
      <dgm:prSet/>
      <dgm:spPr/>
      <dgm:t>
        <a:bodyPr/>
        <a:lstStyle/>
        <a:p>
          <a:endParaRPr lang="en-US"/>
        </a:p>
      </dgm:t>
    </dgm:pt>
    <dgm:pt modelId="{66FDC969-FE8B-470E-8230-F58B45BD57E3}" type="sibTrans" cxnId="{7C9F8AA9-830C-4F6E-9090-D9A96B47F8FC}">
      <dgm:prSet/>
      <dgm:spPr/>
      <dgm:t>
        <a:bodyPr/>
        <a:lstStyle/>
        <a:p>
          <a:endParaRPr lang="en-US"/>
        </a:p>
      </dgm:t>
    </dgm:pt>
    <dgm:pt modelId="{83470559-46D6-45C6-9518-2252614E9D6A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Districtwide Only</a:t>
          </a:r>
        </a:p>
      </dgm:t>
    </dgm:pt>
    <dgm:pt modelId="{898FF85F-A00E-4B97-B50A-54B3B190B808}" type="parTrans" cxnId="{B7EB4BFB-188A-45B5-8B5E-53F53CF5A84A}">
      <dgm:prSet/>
      <dgm:spPr/>
      <dgm:t>
        <a:bodyPr/>
        <a:lstStyle/>
        <a:p>
          <a:endParaRPr lang="en-US"/>
        </a:p>
      </dgm:t>
    </dgm:pt>
    <dgm:pt modelId="{AD216344-D913-456C-88FC-38BDFD71ECCE}" type="sibTrans" cxnId="{B7EB4BFB-188A-45B5-8B5E-53F53CF5A84A}">
      <dgm:prSet/>
      <dgm:spPr/>
      <dgm:t>
        <a:bodyPr/>
        <a:lstStyle/>
        <a:p>
          <a:endParaRPr lang="en-US"/>
        </a:p>
      </dgm:t>
    </dgm:pt>
    <dgm:pt modelId="{4C4307E6-B9CE-4582-993B-182B5B8BAD04}">
      <dgm:prSet custT="1"/>
      <dgm:spPr/>
      <dgm:t>
        <a:bodyPr/>
        <a:lstStyle/>
        <a:p>
          <a:pPr algn="l"/>
          <a:r>
            <a:rPr lang="en-US" sz="2000" dirty="0"/>
            <a:t>Minimal legal counsel involvement</a:t>
          </a:r>
        </a:p>
      </dgm:t>
    </dgm:pt>
    <dgm:pt modelId="{684F623A-9146-408C-9CBF-D0D02AEDAD92}" type="parTrans" cxnId="{CE451F4B-AE74-49FD-9A61-FB82A3B341F1}">
      <dgm:prSet/>
      <dgm:spPr/>
      <dgm:t>
        <a:bodyPr/>
        <a:lstStyle/>
        <a:p>
          <a:endParaRPr lang="en-US"/>
        </a:p>
      </dgm:t>
    </dgm:pt>
    <dgm:pt modelId="{134B31F4-8F6C-4A8E-B28B-2BC279E5F5C7}" type="sibTrans" cxnId="{CE451F4B-AE74-49FD-9A61-FB82A3B341F1}">
      <dgm:prSet/>
      <dgm:spPr/>
      <dgm:t>
        <a:bodyPr/>
        <a:lstStyle/>
        <a:p>
          <a:endParaRPr lang="en-US"/>
        </a:p>
      </dgm:t>
    </dgm:pt>
    <dgm:pt modelId="{3DCA6458-3651-4F06-B8DA-E769DE7D0EFB}">
      <dgm:prSet custT="1"/>
      <dgm:spPr/>
      <dgm:t>
        <a:bodyPr/>
        <a:lstStyle/>
        <a:p>
          <a:pPr algn="l"/>
          <a:endParaRPr lang="en-US" sz="2000" dirty="0"/>
        </a:p>
      </dgm:t>
    </dgm:pt>
    <dgm:pt modelId="{83088888-4357-4E6E-99EB-56BBC94180FE}" type="parTrans" cxnId="{1C09A254-EB86-41A2-88CE-EC48A5B80186}">
      <dgm:prSet/>
      <dgm:spPr/>
      <dgm:t>
        <a:bodyPr/>
        <a:lstStyle/>
        <a:p>
          <a:endParaRPr lang="en-US"/>
        </a:p>
      </dgm:t>
    </dgm:pt>
    <dgm:pt modelId="{B5536995-790D-431A-8003-AAFF0852F417}" type="sibTrans" cxnId="{1C09A254-EB86-41A2-88CE-EC48A5B80186}">
      <dgm:prSet/>
      <dgm:spPr/>
      <dgm:t>
        <a:bodyPr/>
        <a:lstStyle/>
        <a:p>
          <a:endParaRPr lang="en-US"/>
        </a:p>
      </dgm:t>
    </dgm:pt>
    <dgm:pt modelId="{AE7A6B6C-FD7B-46AA-A183-538609BBCAF5}" type="pres">
      <dgm:prSet presAssocID="{6D8D07D2-EBE6-4E95-A923-0CB6D27BC674}" presName="diagram" presStyleCnt="0">
        <dgm:presLayoutVars>
          <dgm:dir/>
          <dgm:animLvl val="lvl"/>
          <dgm:resizeHandles val="exact"/>
        </dgm:presLayoutVars>
      </dgm:prSet>
      <dgm:spPr/>
    </dgm:pt>
    <dgm:pt modelId="{1547406B-19DD-4C16-B53A-1D8EDF2116F0}" type="pres">
      <dgm:prSet presAssocID="{D9476FBE-8165-4109-9767-A87597B7B4B1}" presName="compNode" presStyleCnt="0"/>
      <dgm:spPr/>
    </dgm:pt>
    <dgm:pt modelId="{44190651-0C80-449F-9CD5-0E7E2B85D186}" type="pres">
      <dgm:prSet presAssocID="{D9476FBE-8165-4109-9767-A87597B7B4B1}" presName="childRect" presStyleLbl="bgAcc1" presStyleIdx="0" presStyleCnt="3" custScaleX="148819" custScaleY="242081">
        <dgm:presLayoutVars>
          <dgm:bulletEnabled val="1"/>
        </dgm:presLayoutVars>
      </dgm:prSet>
      <dgm:spPr/>
    </dgm:pt>
    <dgm:pt modelId="{08F78BE2-074C-4D3B-BBA2-2794A030F533}" type="pres">
      <dgm:prSet presAssocID="{D9476FBE-8165-4109-9767-A87597B7B4B1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8587CA4C-8BFA-4C5E-8127-0898D091276B}" type="pres">
      <dgm:prSet presAssocID="{D9476FBE-8165-4109-9767-A87597B7B4B1}" presName="parentRect" presStyleLbl="alignNode1" presStyleIdx="0" presStyleCnt="3" custScaleX="138084"/>
      <dgm:spPr/>
    </dgm:pt>
    <dgm:pt modelId="{E260ADB4-5D1B-4F2B-90B2-E23F792116A9}" type="pres">
      <dgm:prSet presAssocID="{D9476FBE-8165-4109-9767-A87597B7B4B1}" presName="adorn" presStyleLbl="fgAccFollowNode1" presStyleIdx="0" presStyleCnt="3" custLinFactNeighborX="22306" custLinFactNeighborY="-16859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2700">
          <a:solidFill>
            <a:schemeClr val="tx1"/>
          </a:solidFill>
        </a:ln>
      </dgm:spPr>
    </dgm:pt>
    <dgm:pt modelId="{16B85D19-3F26-4235-9E25-3239A5929994}" type="pres">
      <dgm:prSet presAssocID="{85BDA5A3-5D3F-4773-AC56-47D66DF4991E}" presName="sibTrans" presStyleLbl="sibTrans2D1" presStyleIdx="0" presStyleCnt="0"/>
      <dgm:spPr/>
    </dgm:pt>
    <dgm:pt modelId="{216B797C-AEB2-4D21-94DF-3825D040C082}" type="pres">
      <dgm:prSet presAssocID="{60CD81CE-A125-489B-83C4-D79CB4BDA78F}" presName="compNode" presStyleCnt="0"/>
      <dgm:spPr/>
    </dgm:pt>
    <dgm:pt modelId="{103E9761-C771-4580-A191-3B2F900C0359}" type="pres">
      <dgm:prSet presAssocID="{60CD81CE-A125-489B-83C4-D79CB4BDA78F}" presName="childRect" presStyleLbl="bgAcc1" presStyleIdx="1" presStyleCnt="3" custScaleX="148819" custScaleY="242081">
        <dgm:presLayoutVars>
          <dgm:bulletEnabled val="1"/>
        </dgm:presLayoutVars>
      </dgm:prSet>
      <dgm:spPr/>
    </dgm:pt>
    <dgm:pt modelId="{6A8F63AB-9F25-4EE0-AA2E-D6DDB10D47AF}" type="pres">
      <dgm:prSet presAssocID="{60CD81CE-A125-489B-83C4-D79CB4BDA78F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47707A2C-44EC-4031-B4D3-9C342E5DC270}" type="pres">
      <dgm:prSet presAssocID="{60CD81CE-A125-489B-83C4-D79CB4BDA78F}" presName="parentRect" presStyleLbl="alignNode1" presStyleIdx="1" presStyleCnt="3" custScaleX="137753"/>
      <dgm:spPr/>
    </dgm:pt>
    <dgm:pt modelId="{D4FC4B7B-35B2-4DCF-AEB0-78B511F5BA8E}" type="pres">
      <dgm:prSet presAssocID="{60CD81CE-A125-489B-83C4-D79CB4BDA78F}" presName="adorn" presStyleLbl="fgAccFollowNode1" presStyleIdx="1" presStyleCnt="3" custLinFactNeighborX="24840" custLinFactNeighborY="-13085"/>
      <dgm:spPr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 w="12700"/>
      </dgm:spPr>
    </dgm:pt>
    <dgm:pt modelId="{DD2AB659-C022-44D7-939A-29E47F26A16C}" type="pres">
      <dgm:prSet presAssocID="{D9FA17C8-81E2-4385-8BCC-6AE41C2E01E3}" presName="sibTrans" presStyleLbl="sibTrans2D1" presStyleIdx="0" presStyleCnt="0"/>
      <dgm:spPr/>
    </dgm:pt>
    <dgm:pt modelId="{8525250D-64EB-4A67-8F9A-C635F3F788D3}" type="pres">
      <dgm:prSet presAssocID="{86239325-1AEB-4F27-9F88-4889EDDF5ABD}" presName="compNode" presStyleCnt="0"/>
      <dgm:spPr/>
    </dgm:pt>
    <dgm:pt modelId="{7016E620-02D1-4762-AA49-8E34062DAD0E}" type="pres">
      <dgm:prSet presAssocID="{86239325-1AEB-4F27-9F88-4889EDDF5ABD}" presName="childRect" presStyleLbl="bgAcc1" presStyleIdx="2" presStyleCnt="3" custScaleX="147115" custScaleY="237579">
        <dgm:presLayoutVars>
          <dgm:bulletEnabled val="1"/>
        </dgm:presLayoutVars>
      </dgm:prSet>
      <dgm:spPr/>
    </dgm:pt>
    <dgm:pt modelId="{C28BB8E6-D1DE-487A-9E2F-F812BBD4CE61}" type="pres">
      <dgm:prSet presAssocID="{86239325-1AEB-4F27-9F88-4889EDDF5ABD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DD7AE484-8290-41F8-9DE9-29DAED3E563D}" type="pres">
      <dgm:prSet presAssocID="{86239325-1AEB-4F27-9F88-4889EDDF5ABD}" presName="parentRect" presStyleLbl="alignNode1" presStyleIdx="2" presStyleCnt="3" custScaleX="142730"/>
      <dgm:spPr/>
    </dgm:pt>
    <dgm:pt modelId="{CD7CBC92-B28A-416F-8CA1-793FD772B2C6}" type="pres">
      <dgm:prSet presAssocID="{86239325-1AEB-4F27-9F88-4889EDDF5ABD}" presName="adorn" presStyleLbl="fgAccFollowNode1" presStyleIdx="2" presStyleCnt="3" custLinFactNeighborX="39323" custLinFactNeighborY="-19648"/>
      <dgm:spPr>
        <a:blipFill rotWithShape="1">
          <a:blip xmlns:r="http://schemas.openxmlformats.org/officeDocument/2006/relationships" r:embed="rId3"/>
          <a:srcRect/>
          <a:stretch>
            <a:fillRect/>
          </a:stretch>
        </a:blipFill>
        <a:ln w="12700"/>
      </dgm:spPr>
    </dgm:pt>
  </dgm:ptLst>
  <dgm:cxnLst>
    <dgm:cxn modelId="{78FEED03-210B-49DB-AEDD-DFF633ECBEE3}" srcId="{86239325-1AEB-4F27-9F88-4889EDDF5ABD}" destId="{2D969240-37FA-4E2D-8F5C-BBDB1B4FC215}" srcOrd="3" destOrd="0" parTransId="{537154E4-7F5B-4133-961F-07B1BD0FC1CC}" sibTransId="{9D022F75-5799-412D-8BE6-5D829FD144FF}"/>
    <dgm:cxn modelId="{65199A0A-E9D2-48DD-BE46-26EA11FEF066}" srcId="{D9476FBE-8165-4109-9767-A87597B7B4B1}" destId="{9FC40AC1-90CB-4553-8603-4823D401F70B}" srcOrd="5" destOrd="0" parTransId="{D8BD06FA-4668-44A4-A3BE-B4A619E056DE}" sibTransId="{9FED3ECC-05E3-422A-B29B-0F4FFC987D63}"/>
    <dgm:cxn modelId="{D6D2970C-D2DC-4867-94D7-10E57B6D9359}" srcId="{6D8D07D2-EBE6-4E95-A923-0CB6D27BC674}" destId="{D9476FBE-8165-4109-9767-A87597B7B4B1}" srcOrd="0" destOrd="0" parTransId="{6A337598-C12F-44A7-964F-0F9E14B2425C}" sibTransId="{85BDA5A3-5D3F-4773-AC56-47D66DF4991E}"/>
    <dgm:cxn modelId="{7A90A112-77C6-4455-A433-198180699B18}" srcId="{86239325-1AEB-4F27-9F88-4889EDDF5ABD}" destId="{D1135A17-A6A8-491A-9B4F-AC0D5667F608}" srcOrd="2" destOrd="0" parTransId="{33FD814E-241D-461C-8133-E4F8EEA3EAFC}" sibTransId="{F72B1694-3DA7-4034-832A-83F0A723E81A}"/>
    <dgm:cxn modelId="{64EF2818-7076-4B40-9F6B-C9E48C6A9BDB}" type="presOf" srcId="{9FC40AC1-90CB-4553-8603-4823D401F70B}" destId="{44190651-0C80-449F-9CD5-0E7E2B85D186}" srcOrd="0" destOrd="5" presId="urn:microsoft.com/office/officeart/2005/8/layout/bList2"/>
    <dgm:cxn modelId="{C58D3F24-3AEF-41F4-808D-5C247572C956}" type="presOf" srcId="{86239325-1AEB-4F27-9F88-4889EDDF5ABD}" destId="{DD7AE484-8290-41F8-9DE9-29DAED3E563D}" srcOrd="1" destOrd="0" presId="urn:microsoft.com/office/officeart/2005/8/layout/bList2"/>
    <dgm:cxn modelId="{8C32662F-46C8-4943-A55B-3A1AC3A03D22}" type="presOf" srcId="{83470559-46D6-45C6-9518-2252614E9D6A}" destId="{7016E620-02D1-4762-AA49-8E34062DAD0E}" srcOrd="0" destOrd="1" presId="urn:microsoft.com/office/officeart/2005/8/layout/bList2"/>
    <dgm:cxn modelId="{0DED1431-21D9-4547-9BCE-EA2AC94CDD5A}" type="presOf" srcId="{D9476FBE-8165-4109-9767-A87597B7B4B1}" destId="{8587CA4C-8BFA-4C5E-8127-0898D091276B}" srcOrd="1" destOrd="0" presId="urn:microsoft.com/office/officeart/2005/8/layout/bList2"/>
    <dgm:cxn modelId="{8306A134-4797-4DB0-A13F-1882E20EFFFA}" type="presOf" srcId="{86239325-1AEB-4F27-9F88-4889EDDF5ABD}" destId="{C28BB8E6-D1DE-487A-9E2F-F812BBD4CE61}" srcOrd="0" destOrd="0" presId="urn:microsoft.com/office/officeart/2005/8/layout/bList2"/>
    <dgm:cxn modelId="{22DFC33D-B824-40C8-8363-12C3EE2AD9BE}" srcId="{D9476FBE-8165-4109-9767-A87597B7B4B1}" destId="{3F203335-4151-4172-B294-0C598C7F5771}" srcOrd="3" destOrd="0" parTransId="{1F55D8FC-616C-4736-9BE0-70EE4FA0AEE6}" sibTransId="{DF76505F-BAE9-46BF-ADA1-76CCEA8BFA2B}"/>
    <dgm:cxn modelId="{A8366C48-FDE3-4EF5-933A-17C5012C7EFF}" type="presOf" srcId="{60CD81CE-A125-489B-83C4-D79CB4BDA78F}" destId="{47707A2C-44EC-4031-B4D3-9C342E5DC270}" srcOrd="1" destOrd="0" presId="urn:microsoft.com/office/officeart/2005/8/layout/bList2"/>
    <dgm:cxn modelId="{F4CDE069-B6C7-496D-84B7-32075CB8E69F}" type="presOf" srcId="{4C4307E6-B9CE-4582-993B-182B5B8BAD04}" destId="{103E9761-C771-4580-A191-3B2F900C0359}" srcOrd="0" destOrd="2" presId="urn:microsoft.com/office/officeart/2005/8/layout/bList2"/>
    <dgm:cxn modelId="{CE451F4B-AE74-49FD-9A61-FB82A3B341F1}" srcId="{60CD81CE-A125-489B-83C4-D79CB4BDA78F}" destId="{4C4307E6-B9CE-4582-993B-182B5B8BAD04}" srcOrd="2" destOrd="0" parTransId="{684F623A-9146-408C-9CBF-D0D02AEDAD92}" sibTransId="{134B31F4-8F6C-4A8E-B28B-2BC279E5F5C7}"/>
    <dgm:cxn modelId="{560EF16D-4186-4E49-AC0D-F84CC1355524}" type="presOf" srcId="{80CEB789-4D27-47F5-A1FA-A17775B80A13}" destId="{103E9761-C771-4580-A191-3B2F900C0359}" srcOrd="0" destOrd="1" presId="urn:microsoft.com/office/officeart/2005/8/layout/bList2"/>
    <dgm:cxn modelId="{6E43A56F-A7EE-488E-A2F2-7114DBF9E68C}" srcId="{D9476FBE-8165-4109-9767-A87597B7B4B1}" destId="{09CF08E6-4AD3-4A87-9093-53F14A04682D}" srcOrd="2" destOrd="0" parTransId="{CADABF5C-5620-464F-A555-D657FD370271}" sibTransId="{3005B264-6DDB-4F08-9EC3-9B0824AAF8D0}"/>
    <dgm:cxn modelId="{1C09A254-EB86-41A2-88CE-EC48A5B80186}" srcId="{60CD81CE-A125-489B-83C4-D79CB4BDA78F}" destId="{3DCA6458-3651-4F06-B8DA-E769DE7D0EFB}" srcOrd="4" destOrd="0" parTransId="{83088888-4357-4E6E-99EB-56BBC94180FE}" sibTransId="{B5536995-790D-431A-8003-AAFF0852F417}"/>
    <dgm:cxn modelId="{E70D8276-A4CA-443D-860D-AE6A1C09C8CD}" type="presOf" srcId="{FD85D550-8CC9-43B3-9889-C6C3E3DE03DC}" destId="{103E9761-C771-4580-A191-3B2F900C0359}" srcOrd="0" destOrd="0" presId="urn:microsoft.com/office/officeart/2005/8/layout/bList2"/>
    <dgm:cxn modelId="{1CE2407D-BA5A-4E6F-9AB4-643847CAC8D1}" type="presOf" srcId="{FED2E10F-6229-4339-86B1-AC946A546039}" destId="{103E9761-C771-4580-A191-3B2F900C0359}" srcOrd="0" destOrd="3" presId="urn:microsoft.com/office/officeart/2005/8/layout/bList2"/>
    <dgm:cxn modelId="{3367C97F-C9B1-4C76-9356-0F513D09BB04}" srcId="{60CD81CE-A125-489B-83C4-D79CB4BDA78F}" destId="{FD85D550-8CC9-43B3-9889-C6C3E3DE03DC}" srcOrd="0" destOrd="0" parTransId="{220E6A55-B2F7-4210-B250-707B1528F914}" sibTransId="{20B339FC-2147-4053-943C-115DE6E142E1}"/>
    <dgm:cxn modelId="{FB627C83-1E3E-4FD9-8B39-632FB7E69082}" type="presOf" srcId="{3DCA6458-3651-4F06-B8DA-E769DE7D0EFB}" destId="{103E9761-C771-4580-A191-3B2F900C0359}" srcOrd="0" destOrd="4" presId="urn:microsoft.com/office/officeart/2005/8/layout/bList2"/>
    <dgm:cxn modelId="{C1A93484-3E78-43B4-B44A-E79535B08A28}" type="presOf" srcId="{60CD81CE-A125-489B-83C4-D79CB4BDA78F}" destId="{6A8F63AB-9F25-4EE0-AA2E-D6DDB10D47AF}" srcOrd="0" destOrd="0" presId="urn:microsoft.com/office/officeart/2005/8/layout/bList2"/>
    <dgm:cxn modelId="{D6756784-DA2C-4733-8071-59355BB0B6E7}" type="presOf" srcId="{85BDA5A3-5D3F-4773-AC56-47D66DF4991E}" destId="{16B85D19-3F26-4235-9E25-3239A5929994}" srcOrd="0" destOrd="0" presId="urn:microsoft.com/office/officeart/2005/8/layout/bList2"/>
    <dgm:cxn modelId="{C56B1696-AE6C-42C2-BF91-31941EF3FAE4}" srcId="{60CD81CE-A125-489B-83C4-D79CB4BDA78F}" destId="{FED2E10F-6229-4339-86B1-AC946A546039}" srcOrd="3" destOrd="0" parTransId="{79B7E977-87C0-4E4A-86D6-8C0A9EAD46C9}" sibTransId="{00F56F24-8309-49F0-A0FB-419A717C529D}"/>
    <dgm:cxn modelId="{4BB88396-0590-42D1-917E-A2A8FB9A9D6F}" type="presOf" srcId="{3F203335-4151-4172-B294-0C598C7F5771}" destId="{44190651-0C80-449F-9CD5-0E7E2B85D186}" srcOrd="0" destOrd="3" presId="urn:microsoft.com/office/officeart/2005/8/layout/bList2"/>
    <dgm:cxn modelId="{9719E6A8-B62C-4DDF-8CC4-48F0F1C7AB7B}" type="presOf" srcId="{797CEED6-69DE-4B49-BDCB-F2632CBEC735}" destId="{7016E620-02D1-4762-AA49-8E34062DAD0E}" srcOrd="0" destOrd="0" presId="urn:microsoft.com/office/officeart/2005/8/layout/bList2"/>
    <dgm:cxn modelId="{7C9F8AA9-830C-4F6E-9090-D9A96B47F8FC}" srcId="{86239325-1AEB-4F27-9F88-4889EDDF5ABD}" destId="{86639756-6D5A-4CA6-B47D-CAB22AC1ED92}" srcOrd="4" destOrd="0" parTransId="{8B490994-2403-45C9-AD79-16BC0E19A572}" sibTransId="{66FDC969-FE8B-470E-8230-F58B45BD57E3}"/>
    <dgm:cxn modelId="{96A4A3AE-C848-4054-840B-E91618D318E6}" srcId="{D9476FBE-8165-4109-9767-A87597B7B4B1}" destId="{87480B23-4374-4751-B751-CD56EC97060B}" srcOrd="1" destOrd="0" parTransId="{B645DEFA-78D6-42A0-9BAD-547D499A3574}" sibTransId="{48D323FD-5E65-46FD-BD88-D3679A64354F}"/>
    <dgm:cxn modelId="{DFF1C4B3-38B9-421C-BD73-A137224E9911}" srcId="{6D8D07D2-EBE6-4E95-A923-0CB6D27BC674}" destId="{86239325-1AEB-4F27-9F88-4889EDDF5ABD}" srcOrd="2" destOrd="0" parTransId="{4CE64674-AA6E-4400-8DED-A5F7FF1CE058}" sibTransId="{4B17E3A0-ED22-4CBC-941B-B42D8EDFB5CB}"/>
    <dgm:cxn modelId="{0FFFEAB7-CA6A-4E8A-B3BF-E5599916B7D1}" srcId="{6D8D07D2-EBE6-4E95-A923-0CB6D27BC674}" destId="{60CD81CE-A125-489B-83C4-D79CB4BDA78F}" srcOrd="1" destOrd="0" parTransId="{E1747C5B-F74C-44D6-9728-31054A19DBE8}" sibTransId="{D9FA17C8-81E2-4385-8BCC-6AE41C2E01E3}"/>
    <dgm:cxn modelId="{D86C1CB9-0290-4021-95C1-817CFA980717}" type="presOf" srcId="{D9FA17C8-81E2-4385-8BCC-6AE41C2E01E3}" destId="{DD2AB659-C022-44D7-939A-29E47F26A16C}" srcOrd="0" destOrd="0" presId="urn:microsoft.com/office/officeart/2005/8/layout/bList2"/>
    <dgm:cxn modelId="{251317BC-B26A-478C-AA8A-20EC9C673A39}" srcId="{D9476FBE-8165-4109-9767-A87597B7B4B1}" destId="{4484781B-0E1D-400E-A6CA-7F1F0817785D}" srcOrd="0" destOrd="0" parTransId="{266E7AE5-CDD9-42A7-980D-719DF528ACCA}" sibTransId="{A41949C9-E9BE-4B1E-ACA2-00F5788BFB86}"/>
    <dgm:cxn modelId="{AD01F4BF-9233-432A-9EE6-B259BCE055AA}" type="presOf" srcId="{87480B23-4374-4751-B751-CD56EC97060B}" destId="{44190651-0C80-449F-9CD5-0E7E2B85D186}" srcOrd="0" destOrd="1" presId="urn:microsoft.com/office/officeart/2005/8/layout/bList2"/>
    <dgm:cxn modelId="{4A2867C8-2354-471E-B40C-953A5F25B17F}" type="presOf" srcId="{6D8D07D2-EBE6-4E95-A923-0CB6D27BC674}" destId="{AE7A6B6C-FD7B-46AA-A183-538609BBCAF5}" srcOrd="0" destOrd="0" presId="urn:microsoft.com/office/officeart/2005/8/layout/bList2"/>
    <dgm:cxn modelId="{17FF63CC-C528-4818-AF89-04B81EC985B6}" type="presOf" srcId="{D9476FBE-8165-4109-9767-A87597B7B4B1}" destId="{08F78BE2-074C-4D3B-BBA2-2794A030F533}" srcOrd="0" destOrd="0" presId="urn:microsoft.com/office/officeart/2005/8/layout/bList2"/>
    <dgm:cxn modelId="{77B3E3CF-7DE9-469F-A6F9-D12EEAF035BB}" type="presOf" srcId="{09CF08E6-4AD3-4A87-9093-53F14A04682D}" destId="{44190651-0C80-449F-9CD5-0E7E2B85D186}" srcOrd="0" destOrd="2" presId="urn:microsoft.com/office/officeart/2005/8/layout/bList2"/>
    <dgm:cxn modelId="{07D27FD1-6B39-4748-A0DE-ED98349D911A}" srcId="{86239325-1AEB-4F27-9F88-4889EDDF5ABD}" destId="{797CEED6-69DE-4B49-BDCB-F2632CBEC735}" srcOrd="0" destOrd="0" parTransId="{4FFD95B6-9AC0-4D35-8D8A-D90A65B46D99}" sibTransId="{46D0A655-908A-4DEC-975D-37113A17D9BF}"/>
    <dgm:cxn modelId="{FF2216DB-D28A-4C43-9ACF-518F7A324F15}" type="presOf" srcId="{86639756-6D5A-4CA6-B47D-CAB22AC1ED92}" destId="{7016E620-02D1-4762-AA49-8E34062DAD0E}" srcOrd="0" destOrd="4" presId="urn:microsoft.com/office/officeart/2005/8/layout/bList2"/>
    <dgm:cxn modelId="{6BD3DCE0-2FB7-40A7-A59D-092D0F163BAC}" type="presOf" srcId="{D1135A17-A6A8-491A-9B4F-AC0D5667F608}" destId="{7016E620-02D1-4762-AA49-8E34062DAD0E}" srcOrd="0" destOrd="2" presId="urn:microsoft.com/office/officeart/2005/8/layout/bList2"/>
    <dgm:cxn modelId="{CDD93CE1-04C1-468F-8D07-52F0B7E30FA0}" type="presOf" srcId="{4484781B-0E1D-400E-A6CA-7F1F0817785D}" destId="{44190651-0C80-449F-9CD5-0E7E2B85D186}" srcOrd="0" destOrd="0" presId="urn:microsoft.com/office/officeart/2005/8/layout/bList2"/>
    <dgm:cxn modelId="{73A45FE9-8859-4921-B6CF-441D21B0DEF8}" type="presOf" srcId="{69ABE5FE-5DE7-467C-B018-4E0B44A3DE53}" destId="{44190651-0C80-449F-9CD5-0E7E2B85D186}" srcOrd="0" destOrd="4" presId="urn:microsoft.com/office/officeart/2005/8/layout/bList2"/>
    <dgm:cxn modelId="{62756AF3-AE1E-494A-BAFF-AED7AA050234}" srcId="{D9476FBE-8165-4109-9767-A87597B7B4B1}" destId="{69ABE5FE-5DE7-467C-B018-4E0B44A3DE53}" srcOrd="4" destOrd="0" parTransId="{49C85216-E319-4115-9279-30FC3F682AB1}" sibTransId="{89D3FC64-21CE-4EDB-A08B-31D0E3521DC5}"/>
    <dgm:cxn modelId="{CEB667F7-88F5-4C0C-8ECE-4A86A09EC770}" srcId="{60CD81CE-A125-489B-83C4-D79CB4BDA78F}" destId="{80CEB789-4D27-47F5-A1FA-A17775B80A13}" srcOrd="1" destOrd="0" parTransId="{036AA22A-B689-4D3B-9254-923543F5F602}" sibTransId="{97FFD2A9-C20C-4324-969A-133FB1E3FCB4}"/>
    <dgm:cxn modelId="{B7EB4BFB-188A-45B5-8B5E-53F53CF5A84A}" srcId="{86239325-1AEB-4F27-9F88-4889EDDF5ABD}" destId="{83470559-46D6-45C6-9518-2252614E9D6A}" srcOrd="1" destOrd="0" parTransId="{898FF85F-A00E-4B97-B50A-54B3B190B808}" sibTransId="{AD216344-D913-456C-88FC-38BDFD71ECCE}"/>
    <dgm:cxn modelId="{4DEFB2FF-C0D7-49B7-808D-9F02CEFC1032}" type="presOf" srcId="{2D969240-37FA-4E2D-8F5C-BBDB1B4FC215}" destId="{7016E620-02D1-4762-AA49-8E34062DAD0E}" srcOrd="0" destOrd="3" presId="urn:microsoft.com/office/officeart/2005/8/layout/bList2"/>
    <dgm:cxn modelId="{0172A937-E7B7-436F-BC16-173AA2D23EB0}" type="presParOf" srcId="{AE7A6B6C-FD7B-46AA-A183-538609BBCAF5}" destId="{1547406B-19DD-4C16-B53A-1D8EDF2116F0}" srcOrd="0" destOrd="0" presId="urn:microsoft.com/office/officeart/2005/8/layout/bList2"/>
    <dgm:cxn modelId="{FE240297-C480-44DE-912B-718D841D6BA9}" type="presParOf" srcId="{1547406B-19DD-4C16-B53A-1D8EDF2116F0}" destId="{44190651-0C80-449F-9CD5-0E7E2B85D186}" srcOrd="0" destOrd="0" presId="urn:microsoft.com/office/officeart/2005/8/layout/bList2"/>
    <dgm:cxn modelId="{731D05B8-C2D8-41F5-B9D3-4C95880EACF0}" type="presParOf" srcId="{1547406B-19DD-4C16-B53A-1D8EDF2116F0}" destId="{08F78BE2-074C-4D3B-BBA2-2794A030F533}" srcOrd="1" destOrd="0" presId="urn:microsoft.com/office/officeart/2005/8/layout/bList2"/>
    <dgm:cxn modelId="{4E49F07F-E33F-4CD9-9A4A-48D22DE310DF}" type="presParOf" srcId="{1547406B-19DD-4C16-B53A-1D8EDF2116F0}" destId="{8587CA4C-8BFA-4C5E-8127-0898D091276B}" srcOrd="2" destOrd="0" presId="urn:microsoft.com/office/officeart/2005/8/layout/bList2"/>
    <dgm:cxn modelId="{DDE78E01-0D8B-46C3-BDEF-19A7B80BA3FC}" type="presParOf" srcId="{1547406B-19DD-4C16-B53A-1D8EDF2116F0}" destId="{E260ADB4-5D1B-4F2B-90B2-E23F792116A9}" srcOrd="3" destOrd="0" presId="urn:microsoft.com/office/officeart/2005/8/layout/bList2"/>
    <dgm:cxn modelId="{19C6C236-C425-426B-9735-A0C1A174E0A8}" type="presParOf" srcId="{AE7A6B6C-FD7B-46AA-A183-538609BBCAF5}" destId="{16B85D19-3F26-4235-9E25-3239A5929994}" srcOrd="1" destOrd="0" presId="urn:microsoft.com/office/officeart/2005/8/layout/bList2"/>
    <dgm:cxn modelId="{2536BB2B-7D43-4617-9EE2-351991BE7D7E}" type="presParOf" srcId="{AE7A6B6C-FD7B-46AA-A183-538609BBCAF5}" destId="{216B797C-AEB2-4D21-94DF-3825D040C082}" srcOrd="2" destOrd="0" presId="urn:microsoft.com/office/officeart/2005/8/layout/bList2"/>
    <dgm:cxn modelId="{5686B4D4-23D5-458D-98D2-0181538E02F3}" type="presParOf" srcId="{216B797C-AEB2-4D21-94DF-3825D040C082}" destId="{103E9761-C771-4580-A191-3B2F900C0359}" srcOrd="0" destOrd="0" presId="urn:microsoft.com/office/officeart/2005/8/layout/bList2"/>
    <dgm:cxn modelId="{7C00AB3A-1644-4D2F-AB20-248290DB76A7}" type="presParOf" srcId="{216B797C-AEB2-4D21-94DF-3825D040C082}" destId="{6A8F63AB-9F25-4EE0-AA2E-D6DDB10D47AF}" srcOrd="1" destOrd="0" presId="urn:microsoft.com/office/officeart/2005/8/layout/bList2"/>
    <dgm:cxn modelId="{728908B4-0A4E-4051-A385-10B10FF192C8}" type="presParOf" srcId="{216B797C-AEB2-4D21-94DF-3825D040C082}" destId="{47707A2C-44EC-4031-B4D3-9C342E5DC270}" srcOrd="2" destOrd="0" presId="urn:microsoft.com/office/officeart/2005/8/layout/bList2"/>
    <dgm:cxn modelId="{49EDF21E-F53E-4923-9871-5D4AAFF0FBFE}" type="presParOf" srcId="{216B797C-AEB2-4D21-94DF-3825D040C082}" destId="{D4FC4B7B-35B2-4DCF-AEB0-78B511F5BA8E}" srcOrd="3" destOrd="0" presId="urn:microsoft.com/office/officeart/2005/8/layout/bList2"/>
    <dgm:cxn modelId="{17FB60AF-AA36-405B-BC79-16BA3175D190}" type="presParOf" srcId="{AE7A6B6C-FD7B-46AA-A183-538609BBCAF5}" destId="{DD2AB659-C022-44D7-939A-29E47F26A16C}" srcOrd="3" destOrd="0" presId="urn:microsoft.com/office/officeart/2005/8/layout/bList2"/>
    <dgm:cxn modelId="{06565CEB-7CD1-4606-8E3E-F6B997DEA2D1}" type="presParOf" srcId="{AE7A6B6C-FD7B-46AA-A183-538609BBCAF5}" destId="{8525250D-64EB-4A67-8F9A-C635F3F788D3}" srcOrd="4" destOrd="0" presId="urn:microsoft.com/office/officeart/2005/8/layout/bList2"/>
    <dgm:cxn modelId="{E24ADFA2-7B07-4B53-913B-825F0210B607}" type="presParOf" srcId="{8525250D-64EB-4A67-8F9A-C635F3F788D3}" destId="{7016E620-02D1-4762-AA49-8E34062DAD0E}" srcOrd="0" destOrd="0" presId="urn:microsoft.com/office/officeart/2005/8/layout/bList2"/>
    <dgm:cxn modelId="{FAE19525-F40D-4049-A1C1-66F4729B047A}" type="presParOf" srcId="{8525250D-64EB-4A67-8F9A-C635F3F788D3}" destId="{C28BB8E6-D1DE-487A-9E2F-F812BBD4CE61}" srcOrd="1" destOrd="0" presId="urn:microsoft.com/office/officeart/2005/8/layout/bList2"/>
    <dgm:cxn modelId="{3D0BF424-8B8A-43E1-B8BB-25D43D000FD9}" type="presParOf" srcId="{8525250D-64EB-4A67-8F9A-C635F3F788D3}" destId="{DD7AE484-8290-41F8-9DE9-29DAED3E563D}" srcOrd="2" destOrd="0" presId="urn:microsoft.com/office/officeart/2005/8/layout/bList2"/>
    <dgm:cxn modelId="{AC208E63-360E-4C9E-8B63-971339C4CB04}" type="presParOf" srcId="{8525250D-64EB-4A67-8F9A-C635F3F788D3}" destId="{CD7CBC92-B28A-416F-8CA1-793FD772B2C6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D8D07D2-EBE6-4E95-A923-0CB6D27BC674}" type="doc">
      <dgm:prSet loTypeId="urn:microsoft.com/office/officeart/2005/8/layout/b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9476FBE-8165-4109-9767-A87597B7B4B1}">
      <dgm:prSet phldrT="[Text]"/>
      <dgm:spPr>
        <a:solidFill>
          <a:srgbClr val="005837">
            <a:alpha val="15000"/>
          </a:srgbClr>
        </a:solidFill>
        <a:ln>
          <a:solidFill>
            <a:srgbClr val="005837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Financial</a:t>
          </a:r>
        </a:p>
      </dgm:t>
    </dgm:pt>
    <dgm:pt modelId="{6A337598-C12F-44A7-964F-0F9E14B2425C}" type="parTrans" cxnId="{D6D2970C-D2DC-4867-94D7-10E57B6D9359}">
      <dgm:prSet/>
      <dgm:spPr/>
      <dgm:t>
        <a:bodyPr/>
        <a:lstStyle/>
        <a:p>
          <a:endParaRPr lang="en-US"/>
        </a:p>
      </dgm:t>
    </dgm:pt>
    <dgm:pt modelId="{85BDA5A3-5D3F-4773-AC56-47D66DF4991E}" type="sibTrans" cxnId="{D6D2970C-D2DC-4867-94D7-10E57B6D9359}">
      <dgm:prSet/>
      <dgm:spPr/>
      <dgm:t>
        <a:bodyPr/>
        <a:lstStyle/>
        <a:p>
          <a:endParaRPr lang="en-US"/>
        </a:p>
      </dgm:t>
    </dgm:pt>
    <dgm:pt modelId="{60CD81CE-A125-489B-83C4-D79CB4BDA78F}">
      <dgm:prSet phldrT="[Text]"/>
      <dgm:spPr>
        <a:solidFill>
          <a:srgbClr val="005837">
            <a:alpha val="15000"/>
          </a:srgbClr>
        </a:solidFill>
        <a:ln>
          <a:solidFill>
            <a:srgbClr val="005837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Legal 	</a:t>
          </a:r>
        </a:p>
      </dgm:t>
    </dgm:pt>
    <dgm:pt modelId="{E1747C5B-F74C-44D6-9728-31054A19DBE8}" type="parTrans" cxnId="{0FFFEAB7-CA6A-4E8A-B3BF-E5599916B7D1}">
      <dgm:prSet/>
      <dgm:spPr/>
      <dgm:t>
        <a:bodyPr/>
        <a:lstStyle/>
        <a:p>
          <a:endParaRPr lang="en-US"/>
        </a:p>
      </dgm:t>
    </dgm:pt>
    <dgm:pt modelId="{D9FA17C8-81E2-4385-8BCC-6AE41C2E01E3}" type="sibTrans" cxnId="{0FFFEAB7-CA6A-4E8A-B3BF-E5599916B7D1}">
      <dgm:prSet/>
      <dgm:spPr/>
      <dgm:t>
        <a:bodyPr/>
        <a:lstStyle/>
        <a:p>
          <a:endParaRPr lang="en-US"/>
        </a:p>
      </dgm:t>
    </dgm:pt>
    <dgm:pt modelId="{86239325-1AEB-4F27-9F88-4889EDDF5ABD}">
      <dgm:prSet phldrT="[Text]"/>
      <dgm:spPr>
        <a:solidFill>
          <a:srgbClr val="005837">
            <a:alpha val="15000"/>
          </a:srgbClr>
        </a:solidFill>
        <a:ln>
          <a:solidFill>
            <a:srgbClr val="005837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Political</a:t>
          </a:r>
        </a:p>
      </dgm:t>
    </dgm:pt>
    <dgm:pt modelId="{4CE64674-AA6E-4400-8DED-A5F7FF1CE058}" type="parTrans" cxnId="{DFF1C4B3-38B9-421C-BD73-A137224E9911}">
      <dgm:prSet/>
      <dgm:spPr/>
      <dgm:t>
        <a:bodyPr/>
        <a:lstStyle/>
        <a:p>
          <a:endParaRPr lang="en-US"/>
        </a:p>
      </dgm:t>
    </dgm:pt>
    <dgm:pt modelId="{4B17E3A0-ED22-4CBC-941B-B42D8EDFB5CB}" type="sibTrans" cxnId="{DFF1C4B3-38B9-421C-BD73-A137224E9911}">
      <dgm:prSet/>
      <dgm:spPr/>
      <dgm:t>
        <a:bodyPr/>
        <a:lstStyle/>
        <a:p>
          <a:endParaRPr lang="en-US"/>
        </a:p>
      </dgm:t>
    </dgm:pt>
    <dgm:pt modelId="{797CEED6-69DE-4B49-BDCB-F2632CBEC735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Participating registered voters</a:t>
          </a:r>
        </a:p>
      </dgm:t>
    </dgm:pt>
    <dgm:pt modelId="{4FFD95B6-9AC0-4D35-8D8A-D90A65B46D99}" type="parTrans" cxnId="{07D27FD1-6B39-4748-A0DE-ED98349D911A}">
      <dgm:prSet/>
      <dgm:spPr/>
      <dgm:t>
        <a:bodyPr/>
        <a:lstStyle/>
        <a:p>
          <a:endParaRPr lang="en-US"/>
        </a:p>
      </dgm:t>
    </dgm:pt>
    <dgm:pt modelId="{46D0A655-908A-4DEC-975D-37113A17D9BF}" type="sibTrans" cxnId="{07D27FD1-6B39-4748-A0DE-ED98349D911A}">
      <dgm:prSet/>
      <dgm:spPr/>
      <dgm:t>
        <a:bodyPr/>
        <a:lstStyle/>
        <a:p>
          <a:endParaRPr lang="en-US"/>
        </a:p>
      </dgm:t>
    </dgm:pt>
    <dgm:pt modelId="{4484781B-0E1D-400E-A6CA-7F1F0817785D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Taxing district</a:t>
          </a:r>
        </a:p>
      </dgm:t>
    </dgm:pt>
    <dgm:pt modelId="{266E7AE5-CDD9-42A7-980D-719DF528ACCA}" type="parTrans" cxnId="{251317BC-B26A-478C-AA8A-20EC9C673A39}">
      <dgm:prSet/>
      <dgm:spPr/>
      <dgm:t>
        <a:bodyPr/>
        <a:lstStyle/>
        <a:p>
          <a:endParaRPr lang="en-US"/>
        </a:p>
      </dgm:t>
    </dgm:pt>
    <dgm:pt modelId="{A41949C9-E9BE-4B1E-ACA2-00F5788BFB86}" type="sibTrans" cxnId="{251317BC-B26A-478C-AA8A-20EC9C673A39}">
      <dgm:prSet/>
      <dgm:spPr/>
      <dgm:t>
        <a:bodyPr/>
        <a:lstStyle/>
        <a:p>
          <a:endParaRPr lang="en-US"/>
        </a:p>
      </dgm:t>
    </dgm:pt>
    <dgm:pt modelId="{FD85D550-8CC9-43B3-9889-C6C3E3DE03DC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Govt. Code § 53311</a:t>
          </a:r>
        </a:p>
      </dgm:t>
    </dgm:pt>
    <dgm:pt modelId="{220E6A55-B2F7-4210-B250-707B1528F914}" type="parTrans" cxnId="{3367C97F-C9B1-4C76-9356-0F513D09BB04}">
      <dgm:prSet/>
      <dgm:spPr/>
      <dgm:t>
        <a:bodyPr/>
        <a:lstStyle/>
        <a:p>
          <a:endParaRPr lang="en-US"/>
        </a:p>
      </dgm:t>
    </dgm:pt>
    <dgm:pt modelId="{20B339FC-2147-4053-943C-115DE6E142E1}" type="sibTrans" cxnId="{3367C97F-C9B1-4C76-9356-0F513D09BB04}">
      <dgm:prSet/>
      <dgm:spPr/>
      <dgm:t>
        <a:bodyPr/>
        <a:lstStyle/>
        <a:p>
          <a:endParaRPr lang="en-US"/>
        </a:p>
      </dgm:t>
    </dgm:pt>
    <dgm:pt modelId="{9FC40AC1-90CB-4553-8603-4823D401F70B}">
      <dgm:prSet phldrT="[Text]"/>
      <dgm:spPr>
        <a:ln>
          <a:solidFill>
            <a:srgbClr val="005837"/>
          </a:solidFill>
        </a:ln>
      </dgm:spPr>
      <dgm:t>
        <a:bodyPr/>
        <a:lstStyle/>
        <a:p>
          <a:pPr algn="l"/>
          <a:endParaRPr lang="en-US" sz="2100" dirty="0"/>
        </a:p>
      </dgm:t>
    </dgm:pt>
    <dgm:pt modelId="{D8BD06FA-4668-44A4-A3BE-B4A619E056DE}" type="parTrans" cxnId="{65199A0A-E9D2-48DD-BE46-26EA11FEF066}">
      <dgm:prSet/>
      <dgm:spPr/>
      <dgm:t>
        <a:bodyPr/>
        <a:lstStyle/>
        <a:p>
          <a:endParaRPr lang="en-US"/>
        </a:p>
      </dgm:t>
    </dgm:pt>
    <dgm:pt modelId="{9FED3ECC-05E3-422A-B29B-0F4FFC987D63}" type="sibTrans" cxnId="{65199A0A-E9D2-48DD-BE46-26EA11FEF066}">
      <dgm:prSet/>
      <dgm:spPr/>
      <dgm:t>
        <a:bodyPr/>
        <a:lstStyle/>
        <a:p>
          <a:endParaRPr lang="en-US"/>
        </a:p>
      </dgm:t>
    </dgm:pt>
    <dgm:pt modelId="{69ABE5FE-5DE7-467C-B018-4E0B44A3DE53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endParaRPr lang="en-US" sz="2000" dirty="0"/>
        </a:p>
      </dgm:t>
    </dgm:pt>
    <dgm:pt modelId="{49C85216-E319-4115-9279-30FC3F682AB1}" type="parTrans" cxnId="{62756AF3-AE1E-494A-BAFF-AED7AA050234}">
      <dgm:prSet/>
      <dgm:spPr/>
      <dgm:t>
        <a:bodyPr/>
        <a:lstStyle/>
        <a:p>
          <a:endParaRPr lang="en-US"/>
        </a:p>
      </dgm:t>
    </dgm:pt>
    <dgm:pt modelId="{89D3FC64-21CE-4EDB-A08B-31D0E3521DC5}" type="sibTrans" cxnId="{62756AF3-AE1E-494A-BAFF-AED7AA050234}">
      <dgm:prSet/>
      <dgm:spPr/>
      <dgm:t>
        <a:bodyPr/>
        <a:lstStyle/>
        <a:p>
          <a:endParaRPr lang="en-US"/>
        </a:p>
      </dgm:t>
    </dgm:pt>
    <dgm:pt modelId="{3F203335-4151-4172-B294-0C598C7F5771}">
      <dgm:prSet custT="1"/>
      <dgm:spPr/>
      <dgm:t>
        <a:bodyPr/>
        <a:lstStyle/>
        <a:p>
          <a:pPr algn="l"/>
          <a:endParaRPr lang="en-US" sz="2000" dirty="0"/>
        </a:p>
      </dgm:t>
    </dgm:pt>
    <dgm:pt modelId="{1F55D8FC-616C-4736-9BE0-70EE4FA0AEE6}" type="parTrans" cxnId="{22DFC33D-B824-40C8-8363-12C3EE2AD9BE}">
      <dgm:prSet/>
      <dgm:spPr/>
      <dgm:t>
        <a:bodyPr/>
        <a:lstStyle/>
        <a:p>
          <a:endParaRPr lang="en-US"/>
        </a:p>
      </dgm:t>
    </dgm:pt>
    <dgm:pt modelId="{DF76505F-BAE9-46BF-ADA1-76CCEA8BFA2B}" type="sibTrans" cxnId="{22DFC33D-B824-40C8-8363-12C3EE2AD9BE}">
      <dgm:prSet/>
      <dgm:spPr/>
      <dgm:t>
        <a:bodyPr/>
        <a:lstStyle/>
        <a:p>
          <a:endParaRPr lang="en-US"/>
        </a:p>
      </dgm:t>
    </dgm:pt>
    <dgm:pt modelId="{3AC7681D-C0B0-4530-8BA4-BFB15A1BAEC8}">
      <dgm:prSet custT="1"/>
      <dgm:spPr/>
      <dgm:t>
        <a:bodyPr/>
        <a:lstStyle/>
        <a:p>
          <a:pPr algn="l"/>
          <a:endParaRPr lang="en-US" sz="2000" dirty="0"/>
        </a:p>
      </dgm:t>
    </dgm:pt>
    <dgm:pt modelId="{EDC977E9-CDD8-4520-8CD5-069BD60A7132}" type="parTrans" cxnId="{1BF4BDE4-DDB4-441D-A1F0-1808C7FB0CB2}">
      <dgm:prSet/>
      <dgm:spPr/>
      <dgm:t>
        <a:bodyPr/>
        <a:lstStyle/>
        <a:p>
          <a:endParaRPr lang="en-US"/>
        </a:p>
      </dgm:t>
    </dgm:pt>
    <dgm:pt modelId="{6F656566-AF80-4945-997F-2C18D6EB42F5}" type="sibTrans" cxnId="{1BF4BDE4-DDB4-441D-A1F0-1808C7FB0CB2}">
      <dgm:prSet/>
      <dgm:spPr/>
      <dgm:t>
        <a:bodyPr/>
        <a:lstStyle/>
        <a:p>
          <a:endParaRPr lang="en-US"/>
        </a:p>
      </dgm:t>
    </dgm:pt>
    <dgm:pt modelId="{86639756-6D5A-4CA6-B47D-CAB22AC1ED92}">
      <dgm:prSet custT="1"/>
      <dgm:spPr/>
      <dgm:t>
        <a:bodyPr/>
        <a:lstStyle/>
        <a:p>
          <a:pPr algn="l"/>
          <a:endParaRPr lang="en-US" sz="2000" dirty="0"/>
        </a:p>
      </dgm:t>
    </dgm:pt>
    <dgm:pt modelId="{8B490994-2403-45C9-AD79-16BC0E19A572}" type="parTrans" cxnId="{7C9F8AA9-830C-4F6E-9090-D9A96B47F8FC}">
      <dgm:prSet/>
      <dgm:spPr/>
      <dgm:t>
        <a:bodyPr/>
        <a:lstStyle/>
        <a:p>
          <a:endParaRPr lang="en-US"/>
        </a:p>
      </dgm:t>
    </dgm:pt>
    <dgm:pt modelId="{66FDC969-FE8B-470E-8230-F58B45BD57E3}" type="sibTrans" cxnId="{7C9F8AA9-830C-4F6E-9090-D9A96B47F8FC}">
      <dgm:prSet/>
      <dgm:spPr/>
      <dgm:t>
        <a:bodyPr/>
        <a:lstStyle/>
        <a:p>
          <a:endParaRPr lang="en-US"/>
        </a:p>
      </dgm:t>
    </dgm:pt>
    <dgm:pt modelId="{EE7A230C-C4B0-4F93-97E4-84BDB0A4C660}">
      <dgm:prSet custT="1"/>
      <dgm:spPr/>
      <dgm:t>
        <a:bodyPr/>
        <a:lstStyle/>
        <a:p>
          <a:pPr algn="l"/>
          <a:r>
            <a:rPr lang="en-US" sz="2000" dirty="0"/>
            <a:t>Land-secured financing </a:t>
          </a:r>
        </a:p>
      </dgm:t>
    </dgm:pt>
    <dgm:pt modelId="{D8591927-091E-47ED-9332-21289E093706}" type="parTrans" cxnId="{34D7BE28-9B0F-4721-98F4-BE9A314D29C3}">
      <dgm:prSet/>
      <dgm:spPr/>
      <dgm:t>
        <a:bodyPr/>
        <a:lstStyle/>
        <a:p>
          <a:endParaRPr lang="en-US"/>
        </a:p>
      </dgm:t>
    </dgm:pt>
    <dgm:pt modelId="{29C47528-CFCF-4AEE-9E11-C9E0BC70FF66}" type="sibTrans" cxnId="{34D7BE28-9B0F-4721-98F4-BE9A314D29C3}">
      <dgm:prSet/>
      <dgm:spPr/>
      <dgm:t>
        <a:bodyPr/>
        <a:lstStyle/>
        <a:p>
          <a:endParaRPr lang="en-US"/>
        </a:p>
      </dgm:t>
    </dgm:pt>
    <dgm:pt modelId="{146B673C-9177-4905-84C5-96051A632BE2}">
      <dgm:prSet custT="1"/>
      <dgm:spPr/>
      <dgm:t>
        <a:bodyPr/>
        <a:lstStyle/>
        <a:p>
          <a:pPr algn="l"/>
          <a:r>
            <a:rPr lang="en-US" sz="2000" dirty="0"/>
            <a:t>No uniformity requirement</a:t>
          </a:r>
        </a:p>
      </dgm:t>
    </dgm:pt>
    <dgm:pt modelId="{B8B25A12-26F5-44D6-BEEF-A4625B461417}" type="parTrans" cxnId="{5766ECF3-891E-49FA-90CA-4D9E7216B670}">
      <dgm:prSet/>
      <dgm:spPr/>
      <dgm:t>
        <a:bodyPr/>
        <a:lstStyle/>
        <a:p>
          <a:endParaRPr lang="en-US"/>
        </a:p>
      </dgm:t>
    </dgm:pt>
    <dgm:pt modelId="{86F76F9B-12C8-4FDA-8962-86FED708A3E4}" type="sibTrans" cxnId="{5766ECF3-891E-49FA-90CA-4D9E7216B670}">
      <dgm:prSet/>
      <dgm:spPr/>
      <dgm:t>
        <a:bodyPr/>
        <a:lstStyle/>
        <a:p>
          <a:endParaRPr lang="en-US"/>
        </a:p>
      </dgm:t>
    </dgm:pt>
    <dgm:pt modelId="{86ADBCED-F53F-4415-B9DE-78FC130E0D5E}">
      <dgm:prSet custT="1"/>
      <dgm:spPr/>
      <dgm:t>
        <a:bodyPr/>
        <a:lstStyle/>
        <a:p>
          <a:pPr algn="l"/>
          <a:r>
            <a:rPr lang="en-US" sz="2000" dirty="0"/>
            <a:t>Various rates, methods, and exemptions allowed</a:t>
          </a:r>
        </a:p>
      </dgm:t>
    </dgm:pt>
    <dgm:pt modelId="{0D2FA53E-13FD-45E7-A296-972676CE3E5A}" type="parTrans" cxnId="{24FA9E99-341D-4B75-84AD-55880CF91B09}">
      <dgm:prSet/>
      <dgm:spPr/>
      <dgm:t>
        <a:bodyPr/>
        <a:lstStyle/>
        <a:p>
          <a:endParaRPr lang="en-US"/>
        </a:p>
      </dgm:t>
    </dgm:pt>
    <dgm:pt modelId="{38D906F7-F454-4E9B-89E7-1077649FD4A2}" type="sibTrans" cxnId="{24FA9E99-341D-4B75-84AD-55880CF91B09}">
      <dgm:prSet/>
      <dgm:spPr/>
      <dgm:t>
        <a:bodyPr/>
        <a:lstStyle/>
        <a:p>
          <a:endParaRPr lang="en-US"/>
        </a:p>
      </dgm:t>
    </dgm:pt>
    <dgm:pt modelId="{7AA91E70-161D-4FA2-BED4-08243FF05330}">
      <dgm:prSet custT="1"/>
      <dgm:spPr/>
      <dgm:t>
        <a:bodyPr/>
        <a:lstStyle/>
        <a:p>
          <a:pPr algn="l"/>
          <a:endParaRPr lang="en-US" sz="2000" dirty="0"/>
        </a:p>
      </dgm:t>
    </dgm:pt>
    <dgm:pt modelId="{EDFD547E-9CF3-4691-9764-A14B08F8EE06}" type="parTrans" cxnId="{8D08C714-B5FC-4EB1-A402-47E69CE1F5A6}">
      <dgm:prSet/>
      <dgm:spPr/>
      <dgm:t>
        <a:bodyPr/>
        <a:lstStyle/>
        <a:p>
          <a:endParaRPr lang="en-US"/>
        </a:p>
      </dgm:t>
    </dgm:pt>
    <dgm:pt modelId="{CADFE6BA-4999-4D1A-90B5-DABF8324A6F6}" type="sibTrans" cxnId="{8D08C714-B5FC-4EB1-A402-47E69CE1F5A6}">
      <dgm:prSet/>
      <dgm:spPr/>
      <dgm:t>
        <a:bodyPr/>
        <a:lstStyle/>
        <a:p>
          <a:endParaRPr lang="en-US"/>
        </a:p>
      </dgm:t>
    </dgm:pt>
    <dgm:pt modelId="{5010C632-C1EC-4B75-81BB-8F4B1C0C7608}">
      <dgm:prSet custT="1"/>
      <dgm:spPr/>
      <dgm:t>
        <a:bodyPr/>
        <a:lstStyle/>
        <a:p>
          <a:pPr algn="l"/>
          <a:r>
            <a:rPr lang="en-US" sz="2000" dirty="0"/>
            <a:t>No uniformity requirement</a:t>
          </a:r>
        </a:p>
      </dgm:t>
    </dgm:pt>
    <dgm:pt modelId="{FFA2F98B-B96A-4087-BB8D-B52811C548EB}" type="parTrans" cxnId="{A37D6533-1339-47AE-A06B-98037B2FAE3E}">
      <dgm:prSet/>
      <dgm:spPr/>
      <dgm:t>
        <a:bodyPr/>
        <a:lstStyle/>
        <a:p>
          <a:endParaRPr lang="en-US"/>
        </a:p>
      </dgm:t>
    </dgm:pt>
    <dgm:pt modelId="{BCC32539-F925-4B71-ADEC-BD45C720DB55}" type="sibTrans" cxnId="{A37D6533-1339-47AE-A06B-98037B2FAE3E}">
      <dgm:prSet/>
      <dgm:spPr/>
      <dgm:t>
        <a:bodyPr/>
        <a:lstStyle/>
        <a:p>
          <a:endParaRPr lang="en-US"/>
        </a:p>
      </dgm:t>
    </dgm:pt>
    <dgm:pt modelId="{89F633E0-052E-4931-A2B1-12776623F9F3}">
      <dgm:prSet custT="1"/>
      <dgm:spPr/>
      <dgm:t>
        <a:bodyPr/>
        <a:lstStyle/>
        <a:p>
          <a:pPr algn="l"/>
          <a:r>
            <a:rPr lang="en-US" sz="2000" dirty="0"/>
            <a:t>CFD Formation</a:t>
          </a:r>
        </a:p>
      </dgm:t>
    </dgm:pt>
    <dgm:pt modelId="{38D2DC0A-1946-4EB4-ADB7-89A917A983B2}" type="parTrans" cxnId="{8E646E4E-80E5-4EAD-95FC-5961AC1CDB61}">
      <dgm:prSet/>
      <dgm:spPr/>
      <dgm:t>
        <a:bodyPr/>
        <a:lstStyle/>
        <a:p>
          <a:endParaRPr lang="en-US"/>
        </a:p>
      </dgm:t>
    </dgm:pt>
    <dgm:pt modelId="{5056D9E4-1F61-4825-AD4F-42CB58D97F35}" type="sibTrans" cxnId="{8E646E4E-80E5-4EAD-95FC-5961AC1CDB61}">
      <dgm:prSet/>
      <dgm:spPr/>
      <dgm:t>
        <a:bodyPr/>
        <a:lstStyle/>
        <a:p>
          <a:endParaRPr lang="en-US"/>
        </a:p>
      </dgm:t>
    </dgm:pt>
    <dgm:pt modelId="{93802BEF-9450-4EF6-8C34-C7AF6FBFECAC}">
      <dgm:prSet custT="1"/>
      <dgm:spPr/>
      <dgm:t>
        <a:bodyPr/>
        <a:lstStyle/>
        <a:p>
          <a:pPr algn="l"/>
          <a:r>
            <a:rPr lang="en-US" sz="2000" dirty="0"/>
            <a:t>Tax lien</a:t>
          </a:r>
        </a:p>
      </dgm:t>
    </dgm:pt>
    <dgm:pt modelId="{0DE32BF6-2C6F-4AB5-A8C3-B2C2C706BB55}" type="parTrans" cxnId="{1F8C60FE-4061-4DAE-BC50-0C05321C19D2}">
      <dgm:prSet/>
      <dgm:spPr/>
      <dgm:t>
        <a:bodyPr/>
        <a:lstStyle/>
        <a:p>
          <a:endParaRPr lang="en-US"/>
        </a:p>
      </dgm:t>
    </dgm:pt>
    <dgm:pt modelId="{9526B1F2-31E6-41B0-A6EF-483DC0234E70}" type="sibTrans" cxnId="{1F8C60FE-4061-4DAE-BC50-0C05321C19D2}">
      <dgm:prSet/>
      <dgm:spPr/>
      <dgm:t>
        <a:bodyPr/>
        <a:lstStyle/>
        <a:p>
          <a:endParaRPr lang="en-US"/>
        </a:p>
      </dgm:t>
    </dgm:pt>
    <dgm:pt modelId="{E07946F7-8B62-4DE2-8347-DB7B5E126B62}">
      <dgm:prSet custT="1"/>
      <dgm:spPr/>
      <dgm:t>
        <a:bodyPr/>
        <a:lstStyle/>
        <a:p>
          <a:pPr algn="l"/>
          <a:r>
            <a:rPr lang="en-US" sz="2000" dirty="0"/>
            <a:t>Minimal legal involvement</a:t>
          </a:r>
        </a:p>
      </dgm:t>
    </dgm:pt>
    <dgm:pt modelId="{A709B96F-1719-4E2D-A913-7579B662272D}" type="parTrans" cxnId="{F5E5FAE0-0DCE-44BA-9201-46BFAF081EF6}">
      <dgm:prSet/>
      <dgm:spPr/>
      <dgm:t>
        <a:bodyPr/>
        <a:lstStyle/>
        <a:p>
          <a:endParaRPr lang="en-US"/>
        </a:p>
      </dgm:t>
    </dgm:pt>
    <dgm:pt modelId="{0752E296-47BC-4DD1-B16E-739A64B801F8}" type="sibTrans" cxnId="{F5E5FAE0-0DCE-44BA-9201-46BFAF081EF6}">
      <dgm:prSet/>
      <dgm:spPr/>
      <dgm:t>
        <a:bodyPr/>
        <a:lstStyle/>
        <a:p>
          <a:endParaRPr lang="en-US"/>
        </a:p>
      </dgm:t>
    </dgm:pt>
    <dgm:pt modelId="{32492902-1211-4074-9421-48DB27BBFAB2}">
      <dgm:prSet custT="1"/>
      <dgm:spPr/>
      <dgm:t>
        <a:bodyPr/>
        <a:lstStyle/>
        <a:p>
          <a:pPr algn="l"/>
          <a:r>
            <a:rPr lang="en-US" sz="2000" dirty="0"/>
            <a:t>Low risk</a:t>
          </a:r>
        </a:p>
      </dgm:t>
    </dgm:pt>
    <dgm:pt modelId="{91D3DD95-45F7-4570-8748-83D6BEB42071}" type="parTrans" cxnId="{F4129E54-10A3-41B7-BF50-B31CDF56B0BD}">
      <dgm:prSet/>
      <dgm:spPr/>
      <dgm:t>
        <a:bodyPr/>
        <a:lstStyle/>
        <a:p>
          <a:endParaRPr lang="en-US"/>
        </a:p>
      </dgm:t>
    </dgm:pt>
    <dgm:pt modelId="{FD519FF1-DEF7-4B30-A70E-48355E9D6CC7}" type="sibTrans" cxnId="{F4129E54-10A3-41B7-BF50-B31CDF56B0BD}">
      <dgm:prSet/>
      <dgm:spPr/>
      <dgm:t>
        <a:bodyPr/>
        <a:lstStyle/>
        <a:p>
          <a:endParaRPr lang="en-US"/>
        </a:p>
      </dgm:t>
    </dgm:pt>
    <dgm:pt modelId="{CDC74D96-586C-4E67-9F33-5A5051FC4EDD}">
      <dgm:prSet custT="1"/>
      <dgm:spPr/>
      <dgm:t>
        <a:bodyPr/>
        <a:lstStyle/>
        <a:p>
          <a:pPr algn="l"/>
          <a:endParaRPr lang="en-US" sz="2000" dirty="0"/>
        </a:p>
      </dgm:t>
    </dgm:pt>
    <dgm:pt modelId="{5EA797BB-E960-4D2B-96E6-8253353ADBE2}" type="parTrans" cxnId="{FFA48139-44F4-4C4D-B322-75D919B7770B}">
      <dgm:prSet/>
      <dgm:spPr/>
      <dgm:t>
        <a:bodyPr/>
        <a:lstStyle/>
        <a:p>
          <a:endParaRPr lang="en-US"/>
        </a:p>
      </dgm:t>
    </dgm:pt>
    <dgm:pt modelId="{DB342510-4A18-47AB-9ABF-92794C42FB02}" type="sibTrans" cxnId="{FFA48139-44F4-4C4D-B322-75D919B7770B}">
      <dgm:prSet/>
      <dgm:spPr/>
      <dgm:t>
        <a:bodyPr/>
        <a:lstStyle/>
        <a:p>
          <a:endParaRPr lang="en-US"/>
        </a:p>
      </dgm:t>
    </dgm:pt>
    <dgm:pt modelId="{6365C2F8-F2C8-4E4E-B93A-6104AA5F4367}">
      <dgm:prSet custT="1"/>
      <dgm:spPr/>
      <dgm:t>
        <a:bodyPr/>
        <a:lstStyle/>
        <a:p>
          <a:pPr algn="l"/>
          <a:r>
            <a:rPr lang="en-US" sz="2000" dirty="0"/>
            <a:t>Various boundaries</a:t>
          </a:r>
        </a:p>
      </dgm:t>
    </dgm:pt>
    <dgm:pt modelId="{4EF2EB58-BAF3-456C-AF3F-EE71E31C1C1B}" type="parTrans" cxnId="{DB60B21F-A33E-4291-BA32-A034AB485A91}">
      <dgm:prSet/>
      <dgm:spPr/>
      <dgm:t>
        <a:bodyPr/>
        <a:lstStyle/>
        <a:p>
          <a:endParaRPr lang="en-US"/>
        </a:p>
      </dgm:t>
    </dgm:pt>
    <dgm:pt modelId="{B996A19F-1150-459B-806A-A3DF507A67CE}" type="sibTrans" cxnId="{DB60B21F-A33E-4291-BA32-A034AB485A91}">
      <dgm:prSet/>
      <dgm:spPr/>
      <dgm:t>
        <a:bodyPr/>
        <a:lstStyle/>
        <a:p>
          <a:endParaRPr lang="en-US"/>
        </a:p>
      </dgm:t>
    </dgm:pt>
    <dgm:pt modelId="{77CB779E-8795-4B39-942A-33C5712DB9E8}">
      <dgm:prSet custT="1"/>
      <dgm:spPr/>
      <dgm:t>
        <a:bodyPr/>
        <a:lstStyle/>
        <a:p>
          <a:pPr algn="l"/>
          <a:r>
            <a:rPr lang="en-US" sz="2000" b="1" dirty="0"/>
            <a:t>2/3rds support threshold</a:t>
          </a:r>
        </a:p>
      </dgm:t>
    </dgm:pt>
    <dgm:pt modelId="{0049DDAD-3FC0-46B1-AABE-B14F5C9B4711}" type="parTrans" cxnId="{CF1B5371-B374-4CC4-A82D-10EC3C780048}">
      <dgm:prSet/>
      <dgm:spPr/>
      <dgm:t>
        <a:bodyPr/>
        <a:lstStyle/>
        <a:p>
          <a:endParaRPr lang="en-US"/>
        </a:p>
      </dgm:t>
    </dgm:pt>
    <dgm:pt modelId="{696CF602-B3B2-4C20-ADB3-6B37FC44C824}" type="sibTrans" cxnId="{CF1B5371-B374-4CC4-A82D-10EC3C780048}">
      <dgm:prSet/>
      <dgm:spPr/>
      <dgm:t>
        <a:bodyPr/>
        <a:lstStyle/>
        <a:p>
          <a:endParaRPr lang="en-US"/>
        </a:p>
      </dgm:t>
    </dgm:pt>
    <dgm:pt modelId="{08945A36-C3BB-46BB-AC05-AFAB570890E9}">
      <dgm:prSet custT="1"/>
      <dgm:spPr/>
      <dgm:t>
        <a:bodyPr/>
        <a:lstStyle/>
        <a:p>
          <a:pPr algn="l"/>
          <a:r>
            <a:rPr lang="en-US" sz="2000" dirty="0"/>
            <a:t>Polling place OR 30-Day Mailed Ballot</a:t>
          </a:r>
        </a:p>
      </dgm:t>
    </dgm:pt>
    <dgm:pt modelId="{86B82B04-F800-40FF-836F-82C04CD00355}" type="parTrans" cxnId="{7C9299BC-C3CD-4B50-B064-5851EBED1583}">
      <dgm:prSet/>
      <dgm:spPr/>
      <dgm:t>
        <a:bodyPr/>
        <a:lstStyle/>
        <a:p>
          <a:endParaRPr lang="en-US"/>
        </a:p>
      </dgm:t>
    </dgm:pt>
    <dgm:pt modelId="{D2DC2447-C132-4426-A94F-949FFCF0892B}" type="sibTrans" cxnId="{7C9299BC-C3CD-4B50-B064-5851EBED1583}">
      <dgm:prSet/>
      <dgm:spPr/>
      <dgm:t>
        <a:bodyPr/>
        <a:lstStyle/>
        <a:p>
          <a:endParaRPr lang="en-US"/>
        </a:p>
      </dgm:t>
    </dgm:pt>
    <dgm:pt modelId="{FA275B83-070F-45FE-AF85-7A710705A36E}">
      <dgm:prSet custT="1"/>
      <dgm:spPr/>
      <dgm:t>
        <a:bodyPr/>
        <a:lstStyle/>
        <a:p>
          <a:pPr algn="l"/>
          <a:endParaRPr lang="en-US" sz="2000" dirty="0"/>
        </a:p>
      </dgm:t>
    </dgm:pt>
    <dgm:pt modelId="{C66410A2-FA30-420C-B212-16CBF3F1989F}" type="parTrans" cxnId="{22358D95-B513-4E5B-8146-2B5A3472D11D}">
      <dgm:prSet/>
      <dgm:spPr/>
      <dgm:t>
        <a:bodyPr/>
        <a:lstStyle/>
        <a:p>
          <a:endParaRPr lang="en-US"/>
        </a:p>
      </dgm:t>
    </dgm:pt>
    <dgm:pt modelId="{52E83AD6-5FFB-48FA-9334-6779599C6D62}" type="sibTrans" cxnId="{22358D95-B513-4E5B-8146-2B5A3472D11D}">
      <dgm:prSet/>
      <dgm:spPr/>
      <dgm:t>
        <a:bodyPr/>
        <a:lstStyle/>
        <a:p>
          <a:endParaRPr lang="en-US"/>
        </a:p>
      </dgm:t>
    </dgm:pt>
    <dgm:pt modelId="{279A8747-12FB-4CD3-8057-064A3F1159B1}">
      <dgm:prSet custT="1"/>
      <dgm:spPr/>
      <dgm:t>
        <a:bodyPr/>
        <a:lstStyle/>
        <a:p>
          <a:pPr algn="l"/>
          <a:r>
            <a:rPr lang="en-US" sz="2000" dirty="0"/>
            <a:t>Great flexibility</a:t>
          </a:r>
        </a:p>
      </dgm:t>
    </dgm:pt>
    <dgm:pt modelId="{1B1084EA-602B-4865-88A0-553CA4194D21}" type="parTrans" cxnId="{79996190-2C88-4D2B-AC7E-43CECA9217B4}">
      <dgm:prSet/>
      <dgm:spPr/>
      <dgm:t>
        <a:bodyPr/>
        <a:lstStyle/>
        <a:p>
          <a:endParaRPr lang="en-US"/>
        </a:p>
      </dgm:t>
    </dgm:pt>
    <dgm:pt modelId="{29C8C087-7DFB-4B89-817A-3A5C025ACC1D}" type="sibTrans" cxnId="{79996190-2C88-4D2B-AC7E-43CECA9217B4}">
      <dgm:prSet/>
      <dgm:spPr/>
      <dgm:t>
        <a:bodyPr/>
        <a:lstStyle/>
        <a:p>
          <a:endParaRPr lang="en-US"/>
        </a:p>
      </dgm:t>
    </dgm:pt>
    <dgm:pt modelId="{772A2A35-0206-4C88-9674-1A81614B15F5}">
      <dgm:prSet phldrT="[Text]" custT="1"/>
      <dgm:spPr>
        <a:ln>
          <a:solidFill>
            <a:srgbClr val="005837"/>
          </a:solidFill>
        </a:ln>
      </dgm:spPr>
      <dgm:t>
        <a:bodyPr/>
        <a:lstStyle/>
        <a:p>
          <a:pPr algn="l"/>
          <a:r>
            <a:rPr lang="en-US" sz="2000" dirty="0"/>
            <a:t>Operation, Maintenance and improvements</a:t>
          </a:r>
        </a:p>
      </dgm:t>
    </dgm:pt>
    <dgm:pt modelId="{FBDA5A6C-C786-4C30-9891-71809CE1DC3E}" type="parTrans" cxnId="{1008325A-30E0-410D-B974-30B2468B1DCE}">
      <dgm:prSet/>
      <dgm:spPr/>
    </dgm:pt>
    <dgm:pt modelId="{94044A20-B444-44AC-9A1D-DB924F3E941C}" type="sibTrans" cxnId="{1008325A-30E0-410D-B974-30B2468B1DCE}">
      <dgm:prSet/>
      <dgm:spPr/>
    </dgm:pt>
    <dgm:pt modelId="{AE7A6B6C-FD7B-46AA-A183-538609BBCAF5}" type="pres">
      <dgm:prSet presAssocID="{6D8D07D2-EBE6-4E95-A923-0CB6D27BC674}" presName="diagram" presStyleCnt="0">
        <dgm:presLayoutVars>
          <dgm:dir/>
          <dgm:animLvl val="lvl"/>
          <dgm:resizeHandles val="exact"/>
        </dgm:presLayoutVars>
      </dgm:prSet>
      <dgm:spPr/>
    </dgm:pt>
    <dgm:pt modelId="{1547406B-19DD-4C16-B53A-1D8EDF2116F0}" type="pres">
      <dgm:prSet presAssocID="{D9476FBE-8165-4109-9767-A87597B7B4B1}" presName="compNode" presStyleCnt="0"/>
      <dgm:spPr/>
    </dgm:pt>
    <dgm:pt modelId="{44190651-0C80-449F-9CD5-0E7E2B85D186}" type="pres">
      <dgm:prSet presAssocID="{D9476FBE-8165-4109-9767-A87597B7B4B1}" presName="childRect" presStyleLbl="bgAcc1" presStyleIdx="0" presStyleCnt="3" custScaleX="147730" custScaleY="240310">
        <dgm:presLayoutVars>
          <dgm:bulletEnabled val="1"/>
        </dgm:presLayoutVars>
      </dgm:prSet>
      <dgm:spPr/>
    </dgm:pt>
    <dgm:pt modelId="{08F78BE2-074C-4D3B-BBA2-2794A030F533}" type="pres">
      <dgm:prSet presAssocID="{D9476FBE-8165-4109-9767-A87597B7B4B1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8587CA4C-8BFA-4C5E-8127-0898D091276B}" type="pres">
      <dgm:prSet presAssocID="{D9476FBE-8165-4109-9767-A87597B7B4B1}" presName="parentRect" presStyleLbl="alignNode1" presStyleIdx="0" presStyleCnt="3" custScaleX="136684"/>
      <dgm:spPr/>
    </dgm:pt>
    <dgm:pt modelId="{E260ADB4-5D1B-4F2B-90B2-E23F792116A9}" type="pres">
      <dgm:prSet presAssocID="{D9476FBE-8165-4109-9767-A87597B7B4B1}" presName="adorn" presStyleLbl="fgAccFollowNode1" presStyleIdx="0" presStyleCnt="3" custLinFactNeighborX="24897" custLinFactNeighborY="-19246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2700">
          <a:solidFill>
            <a:schemeClr val="tx1"/>
          </a:solidFill>
        </a:ln>
      </dgm:spPr>
    </dgm:pt>
    <dgm:pt modelId="{16B85D19-3F26-4235-9E25-3239A5929994}" type="pres">
      <dgm:prSet presAssocID="{85BDA5A3-5D3F-4773-AC56-47D66DF4991E}" presName="sibTrans" presStyleLbl="sibTrans2D1" presStyleIdx="0" presStyleCnt="0"/>
      <dgm:spPr/>
    </dgm:pt>
    <dgm:pt modelId="{216B797C-AEB2-4D21-94DF-3825D040C082}" type="pres">
      <dgm:prSet presAssocID="{60CD81CE-A125-489B-83C4-D79CB4BDA78F}" presName="compNode" presStyleCnt="0"/>
      <dgm:spPr/>
    </dgm:pt>
    <dgm:pt modelId="{103E9761-C771-4580-A191-3B2F900C0359}" type="pres">
      <dgm:prSet presAssocID="{60CD81CE-A125-489B-83C4-D79CB4BDA78F}" presName="childRect" presStyleLbl="bgAcc1" presStyleIdx="1" presStyleCnt="3" custScaleX="147730" custScaleY="240310">
        <dgm:presLayoutVars>
          <dgm:bulletEnabled val="1"/>
        </dgm:presLayoutVars>
      </dgm:prSet>
      <dgm:spPr/>
    </dgm:pt>
    <dgm:pt modelId="{6A8F63AB-9F25-4EE0-AA2E-D6DDB10D47AF}" type="pres">
      <dgm:prSet presAssocID="{60CD81CE-A125-489B-83C4-D79CB4BDA78F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47707A2C-44EC-4031-B4D3-9C342E5DC270}" type="pres">
      <dgm:prSet presAssocID="{60CD81CE-A125-489B-83C4-D79CB4BDA78F}" presName="parentRect" presStyleLbl="alignNode1" presStyleIdx="1" presStyleCnt="3" custScaleX="142467"/>
      <dgm:spPr/>
    </dgm:pt>
    <dgm:pt modelId="{D4FC4B7B-35B2-4DCF-AEB0-78B511F5BA8E}" type="pres">
      <dgm:prSet presAssocID="{60CD81CE-A125-489B-83C4-D79CB4BDA78F}" presName="adorn" presStyleLbl="fgAccFollowNode1" presStyleIdx="1" presStyleCnt="3" custLinFactNeighborX="29839" custLinFactNeighborY="-19284"/>
      <dgm:spPr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 w="12700"/>
      </dgm:spPr>
    </dgm:pt>
    <dgm:pt modelId="{DD2AB659-C022-44D7-939A-29E47F26A16C}" type="pres">
      <dgm:prSet presAssocID="{D9FA17C8-81E2-4385-8BCC-6AE41C2E01E3}" presName="sibTrans" presStyleLbl="sibTrans2D1" presStyleIdx="0" presStyleCnt="0"/>
      <dgm:spPr/>
    </dgm:pt>
    <dgm:pt modelId="{8525250D-64EB-4A67-8F9A-C635F3F788D3}" type="pres">
      <dgm:prSet presAssocID="{86239325-1AEB-4F27-9F88-4889EDDF5ABD}" presName="compNode" presStyleCnt="0"/>
      <dgm:spPr/>
    </dgm:pt>
    <dgm:pt modelId="{7016E620-02D1-4762-AA49-8E34062DAD0E}" type="pres">
      <dgm:prSet presAssocID="{86239325-1AEB-4F27-9F88-4889EDDF5ABD}" presName="childRect" presStyleLbl="bgAcc1" presStyleIdx="2" presStyleCnt="3" custScaleX="147730" custScaleY="238565">
        <dgm:presLayoutVars>
          <dgm:bulletEnabled val="1"/>
        </dgm:presLayoutVars>
      </dgm:prSet>
      <dgm:spPr/>
    </dgm:pt>
    <dgm:pt modelId="{C28BB8E6-D1DE-487A-9E2F-F812BBD4CE61}" type="pres">
      <dgm:prSet presAssocID="{86239325-1AEB-4F27-9F88-4889EDDF5ABD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DD7AE484-8290-41F8-9DE9-29DAED3E563D}" type="pres">
      <dgm:prSet presAssocID="{86239325-1AEB-4F27-9F88-4889EDDF5ABD}" presName="parentRect" presStyleLbl="alignNode1" presStyleIdx="2" presStyleCnt="3" custScaleX="141266"/>
      <dgm:spPr/>
    </dgm:pt>
    <dgm:pt modelId="{CD7CBC92-B28A-416F-8CA1-793FD772B2C6}" type="pres">
      <dgm:prSet presAssocID="{86239325-1AEB-4F27-9F88-4889EDDF5ABD}" presName="adorn" presStyleLbl="fgAccFollowNode1" presStyleIdx="2" presStyleCnt="3" custLinFactNeighborX="27425" custLinFactNeighborY="-25515"/>
      <dgm:spPr>
        <a:blipFill rotWithShape="1">
          <a:blip xmlns:r="http://schemas.openxmlformats.org/officeDocument/2006/relationships" r:embed="rId3"/>
          <a:srcRect/>
          <a:stretch>
            <a:fillRect/>
          </a:stretch>
        </a:blipFill>
        <a:ln w="12700"/>
      </dgm:spPr>
    </dgm:pt>
  </dgm:ptLst>
  <dgm:cxnLst>
    <dgm:cxn modelId="{B7444102-185D-4B9F-ADD1-8C2AA5937628}" type="presOf" srcId="{3AC7681D-C0B0-4530-8BA4-BFB15A1BAEC8}" destId="{103E9761-C771-4580-A191-3B2F900C0359}" srcOrd="0" destOrd="7" presId="urn:microsoft.com/office/officeart/2005/8/layout/bList2"/>
    <dgm:cxn modelId="{65199A0A-E9D2-48DD-BE46-26EA11FEF066}" srcId="{D9476FBE-8165-4109-9767-A87597B7B4B1}" destId="{9FC40AC1-90CB-4553-8603-4823D401F70B}" srcOrd="9" destOrd="0" parTransId="{D8BD06FA-4668-44A4-A3BE-B4A619E056DE}" sibTransId="{9FED3ECC-05E3-422A-B29B-0F4FFC987D63}"/>
    <dgm:cxn modelId="{DC71A80A-E6C9-46BB-A3AD-7AEC48DFE03A}" type="presOf" srcId="{6365C2F8-F2C8-4E4E-B93A-6104AA5F4367}" destId="{7016E620-02D1-4762-AA49-8E34062DAD0E}" srcOrd="0" destOrd="1" presId="urn:microsoft.com/office/officeart/2005/8/layout/bList2"/>
    <dgm:cxn modelId="{D6D2970C-D2DC-4867-94D7-10E57B6D9359}" srcId="{6D8D07D2-EBE6-4E95-A923-0CB6D27BC674}" destId="{D9476FBE-8165-4109-9767-A87597B7B4B1}" srcOrd="0" destOrd="0" parTransId="{6A337598-C12F-44A7-964F-0F9E14B2425C}" sibTransId="{85BDA5A3-5D3F-4773-AC56-47D66DF4991E}"/>
    <dgm:cxn modelId="{8D08C714-B5FC-4EB1-A402-47E69CE1F5A6}" srcId="{D9476FBE-8165-4109-9767-A87597B7B4B1}" destId="{7AA91E70-161D-4FA2-BED4-08243FF05330}" srcOrd="6" destOrd="0" parTransId="{EDFD547E-9CF3-4691-9764-A14B08F8EE06}" sibTransId="{CADFE6BA-4999-4D1A-90B5-DABF8324A6F6}"/>
    <dgm:cxn modelId="{64EF2818-7076-4B40-9F6B-C9E48C6A9BDB}" type="presOf" srcId="{9FC40AC1-90CB-4553-8603-4823D401F70B}" destId="{44190651-0C80-449F-9CD5-0E7E2B85D186}" srcOrd="0" destOrd="9" presId="urn:microsoft.com/office/officeart/2005/8/layout/bList2"/>
    <dgm:cxn modelId="{DB60B21F-A33E-4291-BA32-A034AB485A91}" srcId="{86239325-1AEB-4F27-9F88-4889EDDF5ABD}" destId="{6365C2F8-F2C8-4E4E-B93A-6104AA5F4367}" srcOrd="1" destOrd="0" parTransId="{4EF2EB58-BAF3-456C-AF3F-EE71E31C1C1B}" sibTransId="{B996A19F-1150-459B-806A-A3DF507A67CE}"/>
    <dgm:cxn modelId="{C58D3F24-3AEF-41F4-808D-5C247572C956}" type="presOf" srcId="{86239325-1AEB-4F27-9F88-4889EDDF5ABD}" destId="{DD7AE484-8290-41F8-9DE9-29DAED3E563D}" srcOrd="1" destOrd="0" presId="urn:microsoft.com/office/officeart/2005/8/layout/bList2"/>
    <dgm:cxn modelId="{34D7BE28-9B0F-4721-98F4-BE9A314D29C3}" srcId="{D9476FBE-8165-4109-9767-A87597B7B4B1}" destId="{EE7A230C-C4B0-4F93-97E4-84BDB0A4C660}" srcOrd="2" destOrd="0" parTransId="{D8591927-091E-47ED-9332-21289E093706}" sibTransId="{29C47528-CFCF-4AEE-9E11-C9E0BC70FF66}"/>
    <dgm:cxn modelId="{1DDA6430-7FE5-446E-82A7-C406C16C3B1E}" type="presOf" srcId="{89F633E0-052E-4931-A2B1-12776623F9F3}" destId="{103E9761-C771-4580-A191-3B2F900C0359}" srcOrd="0" destOrd="2" presId="urn:microsoft.com/office/officeart/2005/8/layout/bList2"/>
    <dgm:cxn modelId="{0DED1431-21D9-4547-9BCE-EA2AC94CDD5A}" type="presOf" srcId="{D9476FBE-8165-4109-9767-A87597B7B4B1}" destId="{8587CA4C-8BFA-4C5E-8127-0898D091276B}" srcOrd="1" destOrd="0" presId="urn:microsoft.com/office/officeart/2005/8/layout/bList2"/>
    <dgm:cxn modelId="{A37D6533-1339-47AE-A06B-98037B2FAE3E}" srcId="{60CD81CE-A125-489B-83C4-D79CB4BDA78F}" destId="{5010C632-C1EC-4B75-81BB-8F4B1C0C7608}" srcOrd="1" destOrd="0" parTransId="{FFA2F98B-B96A-4087-BB8D-B52811C548EB}" sibTransId="{BCC32539-F925-4B71-ADEC-BD45C720DB55}"/>
    <dgm:cxn modelId="{8306A134-4797-4DB0-A13F-1882E20EFFFA}" type="presOf" srcId="{86239325-1AEB-4F27-9F88-4889EDDF5ABD}" destId="{C28BB8E6-D1DE-487A-9E2F-F812BBD4CE61}" srcOrd="0" destOrd="0" presId="urn:microsoft.com/office/officeart/2005/8/layout/bList2"/>
    <dgm:cxn modelId="{BACD8E36-C01D-4137-B35D-C5D23179854D}" type="presOf" srcId="{772A2A35-0206-4C88-9674-1A81614B15F5}" destId="{44190651-0C80-449F-9CD5-0E7E2B85D186}" srcOrd="0" destOrd="1" presId="urn:microsoft.com/office/officeart/2005/8/layout/bList2"/>
    <dgm:cxn modelId="{FFA48139-44F4-4C4D-B322-75D919B7770B}" srcId="{60CD81CE-A125-489B-83C4-D79CB4BDA78F}" destId="{CDC74D96-586C-4E67-9F33-5A5051FC4EDD}" srcOrd="6" destOrd="0" parTransId="{5EA797BB-E960-4D2B-96E6-8253353ADBE2}" sibTransId="{DB342510-4A18-47AB-9ABF-92794C42FB02}"/>
    <dgm:cxn modelId="{22DFC33D-B824-40C8-8363-12C3EE2AD9BE}" srcId="{D9476FBE-8165-4109-9767-A87597B7B4B1}" destId="{3F203335-4151-4172-B294-0C598C7F5771}" srcOrd="7" destOrd="0" parTransId="{1F55D8FC-616C-4736-9BE0-70EE4FA0AEE6}" sibTransId="{DF76505F-BAE9-46BF-ADA1-76CCEA8BFA2B}"/>
    <dgm:cxn modelId="{A8366C48-FDE3-4EF5-933A-17C5012C7EFF}" type="presOf" srcId="{60CD81CE-A125-489B-83C4-D79CB4BDA78F}" destId="{47707A2C-44EC-4031-B4D3-9C342E5DC270}" srcOrd="1" destOrd="0" presId="urn:microsoft.com/office/officeart/2005/8/layout/bList2"/>
    <dgm:cxn modelId="{8E646E4E-80E5-4EAD-95FC-5961AC1CDB61}" srcId="{60CD81CE-A125-489B-83C4-D79CB4BDA78F}" destId="{89F633E0-052E-4931-A2B1-12776623F9F3}" srcOrd="2" destOrd="0" parTransId="{38D2DC0A-1946-4EB4-ADB7-89A917A983B2}" sibTransId="{5056D9E4-1F61-4825-AD4F-42CB58D97F35}"/>
    <dgm:cxn modelId="{CF1B5371-B374-4CC4-A82D-10EC3C780048}" srcId="{86239325-1AEB-4F27-9F88-4889EDDF5ABD}" destId="{77CB779E-8795-4B39-942A-33C5712DB9E8}" srcOrd="2" destOrd="0" parTransId="{0049DDAD-3FC0-46B1-AABE-B14F5C9B4711}" sibTransId="{696CF602-B3B2-4C20-ADB3-6B37FC44C824}"/>
    <dgm:cxn modelId="{F4129E54-10A3-41B7-BF50-B31CDF56B0BD}" srcId="{60CD81CE-A125-489B-83C4-D79CB4BDA78F}" destId="{32492902-1211-4074-9421-48DB27BBFAB2}" srcOrd="5" destOrd="0" parTransId="{91D3DD95-45F7-4570-8748-83D6BEB42071}" sibTransId="{FD519FF1-DEF7-4B30-A70E-48355E9D6CC7}"/>
    <dgm:cxn modelId="{140D6756-4948-484F-B8E2-D5CCA75DD9CD}" type="presOf" srcId="{77CB779E-8795-4B39-942A-33C5712DB9E8}" destId="{7016E620-02D1-4762-AA49-8E34062DAD0E}" srcOrd="0" destOrd="2" presId="urn:microsoft.com/office/officeart/2005/8/layout/bList2"/>
    <dgm:cxn modelId="{E70D8276-A4CA-443D-860D-AE6A1C09C8CD}" type="presOf" srcId="{FD85D550-8CC9-43B3-9889-C6C3E3DE03DC}" destId="{103E9761-C771-4580-A191-3B2F900C0359}" srcOrd="0" destOrd="0" presId="urn:microsoft.com/office/officeart/2005/8/layout/bList2"/>
    <dgm:cxn modelId="{04F19557-B5B7-4BAC-AE2A-5C81C1CFC7C4}" type="presOf" srcId="{FA275B83-070F-45FE-AF85-7A710705A36E}" destId="{7016E620-02D1-4762-AA49-8E34062DAD0E}" srcOrd="0" destOrd="4" presId="urn:microsoft.com/office/officeart/2005/8/layout/bList2"/>
    <dgm:cxn modelId="{1008325A-30E0-410D-B974-30B2468B1DCE}" srcId="{D9476FBE-8165-4109-9767-A87597B7B4B1}" destId="{772A2A35-0206-4C88-9674-1A81614B15F5}" srcOrd="1" destOrd="0" parTransId="{FBDA5A6C-C786-4C30-9891-71809CE1DC3E}" sibTransId="{94044A20-B444-44AC-9A1D-DB924F3E941C}"/>
    <dgm:cxn modelId="{A92A287C-7739-4D33-921D-BAE3F069CF09}" type="presOf" srcId="{CDC74D96-586C-4E67-9F33-5A5051FC4EDD}" destId="{103E9761-C771-4580-A191-3B2F900C0359}" srcOrd="0" destOrd="6" presId="urn:microsoft.com/office/officeart/2005/8/layout/bList2"/>
    <dgm:cxn modelId="{0E7BB67C-A763-49EC-A129-F173B4B99C99}" type="presOf" srcId="{93802BEF-9450-4EF6-8C34-C7AF6FBFECAC}" destId="{103E9761-C771-4580-A191-3B2F900C0359}" srcOrd="0" destOrd="3" presId="urn:microsoft.com/office/officeart/2005/8/layout/bList2"/>
    <dgm:cxn modelId="{3367C97F-C9B1-4C76-9356-0F513D09BB04}" srcId="{60CD81CE-A125-489B-83C4-D79CB4BDA78F}" destId="{FD85D550-8CC9-43B3-9889-C6C3E3DE03DC}" srcOrd="0" destOrd="0" parTransId="{220E6A55-B2F7-4210-B250-707B1528F914}" sibTransId="{20B339FC-2147-4053-943C-115DE6E142E1}"/>
    <dgm:cxn modelId="{C1A93484-3E78-43B4-B44A-E79535B08A28}" type="presOf" srcId="{60CD81CE-A125-489B-83C4-D79CB4BDA78F}" destId="{6A8F63AB-9F25-4EE0-AA2E-D6DDB10D47AF}" srcOrd="0" destOrd="0" presId="urn:microsoft.com/office/officeart/2005/8/layout/bList2"/>
    <dgm:cxn modelId="{D6756784-DA2C-4733-8071-59355BB0B6E7}" type="presOf" srcId="{85BDA5A3-5D3F-4773-AC56-47D66DF4991E}" destId="{16B85D19-3F26-4235-9E25-3239A5929994}" srcOrd="0" destOrd="0" presId="urn:microsoft.com/office/officeart/2005/8/layout/bList2"/>
    <dgm:cxn modelId="{8FE2B087-128D-4B9C-87EA-809BBF771121}" type="presOf" srcId="{EE7A230C-C4B0-4F93-97E4-84BDB0A4C660}" destId="{44190651-0C80-449F-9CD5-0E7E2B85D186}" srcOrd="0" destOrd="2" presId="urn:microsoft.com/office/officeart/2005/8/layout/bList2"/>
    <dgm:cxn modelId="{79996190-2C88-4D2B-AC7E-43CECA9217B4}" srcId="{D9476FBE-8165-4109-9767-A87597B7B4B1}" destId="{279A8747-12FB-4CD3-8057-064A3F1159B1}" srcOrd="4" destOrd="0" parTransId="{1B1084EA-602B-4865-88A0-553CA4194D21}" sibTransId="{29C8C087-7DFB-4B89-817A-3A5C025ACC1D}"/>
    <dgm:cxn modelId="{116F4293-73A1-4ADB-BF07-142020B425AA}" type="presOf" srcId="{E07946F7-8B62-4DE2-8347-DB7B5E126B62}" destId="{103E9761-C771-4580-A191-3B2F900C0359}" srcOrd="0" destOrd="4" presId="urn:microsoft.com/office/officeart/2005/8/layout/bList2"/>
    <dgm:cxn modelId="{AC0AEC93-4772-409C-9E55-3B98B15A2EC9}" type="presOf" srcId="{5010C632-C1EC-4B75-81BB-8F4B1C0C7608}" destId="{103E9761-C771-4580-A191-3B2F900C0359}" srcOrd="0" destOrd="1" presId="urn:microsoft.com/office/officeart/2005/8/layout/bList2"/>
    <dgm:cxn modelId="{0B82F594-3520-4D18-84E6-36F99B21075A}" type="presOf" srcId="{279A8747-12FB-4CD3-8057-064A3F1159B1}" destId="{44190651-0C80-449F-9CD5-0E7E2B85D186}" srcOrd="0" destOrd="4" presId="urn:microsoft.com/office/officeart/2005/8/layout/bList2"/>
    <dgm:cxn modelId="{22358D95-B513-4E5B-8146-2B5A3472D11D}" srcId="{86239325-1AEB-4F27-9F88-4889EDDF5ABD}" destId="{FA275B83-070F-45FE-AF85-7A710705A36E}" srcOrd="4" destOrd="0" parTransId="{C66410A2-FA30-420C-B212-16CBF3F1989F}" sibTransId="{52E83AD6-5FFB-48FA-9334-6779599C6D62}"/>
    <dgm:cxn modelId="{E17F0196-29CD-473B-A6EE-3713BF7EC27D}" type="presOf" srcId="{7AA91E70-161D-4FA2-BED4-08243FF05330}" destId="{44190651-0C80-449F-9CD5-0E7E2B85D186}" srcOrd="0" destOrd="6" presId="urn:microsoft.com/office/officeart/2005/8/layout/bList2"/>
    <dgm:cxn modelId="{4BB88396-0590-42D1-917E-A2A8FB9A9D6F}" type="presOf" srcId="{3F203335-4151-4172-B294-0C598C7F5771}" destId="{44190651-0C80-449F-9CD5-0E7E2B85D186}" srcOrd="0" destOrd="7" presId="urn:microsoft.com/office/officeart/2005/8/layout/bList2"/>
    <dgm:cxn modelId="{24FA9E99-341D-4B75-84AD-55880CF91B09}" srcId="{D9476FBE-8165-4109-9767-A87597B7B4B1}" destId="{86ADBCED-F53F-4415-B9DE-78FC130E0D5E}" srcOrd="5" destOrd="0" parTransId="{0D2FA53E-13FD-45E7-A296-972676CE3E5A}" sibTransId="{38D906F7-F454-4E9B-89E7-1077649FD4A2}"/>
    <dgm:cxn modelId="{23FAAFA7-6228-4AF0-B8C9-D30C6ED7D48C}" type="presOf" srcId="{32492902-1211-4074-9421-48DB27BBFAB2}" destId="{103E9761-C771-4580-A191-3B2F900C0359}" srcOrd="0" destOrd="5" presId="urn:microsoft.com/office/officeart/2005/8/layout/bList2"/>
    <dgm:cxn modelId="{9719E6A8-B62C-4DDF-8CC4-48F0F1C7AB7B}" type="presOf" srcId="{797CEED6-69DE-4B49-BDCB-F2632CBEC735}" destId="{7016E620-02D1-4762-AA49-8E34062DAD0E}" srcOrd="0" destOrd="0" presId="urn:microsoft.com/office/officeart/2005/8/layout/bList2"/>
    <dgm:cxn modelId="{7C9F8AA9-830C-4F6E-9090-D9A96B47F8FC}" srcId="{86239325-1AEB-4F27-9F88-4889EDDF5ABD}" destId="{86639756-6D5A-4CA6-B47D-CAB22AC1ED92}" srcOrd="5" destOrd="0" parTransId="{8B490994-2403-45C9-AD79-16BC0E19A572}" sibTransId="{66FDC969-FE8B-470E-8230-F58B45BD57E3}"/>
    <dgm:cxn modelId="{00D006AA-18C6-4356-95E4-F2FFD0301DD3}" type="presOf" srcId="{146B673C-9177-4905-84C5-96051A632BE2}" destId="{44190651-0C80-449F-9CD5-0E7E2B85D186}" srcOrd="0" destOrd="3" presId="urn:microsoft.com/office/officeart/2005/8/layout/bList2"/>
    <dgm:cxn modelId="{6E3700B0-E4B5-466E-AE57-7B5CEFA82759}" type="presOf" srcId="{08945A36-C3BB-46BB-AC05-AFAB570890E9}" destId="{7016E620-02D1-4762-AA49-8E34062DAD0E}" srcOrd="0" destOrd="3" presId="urn:microsoft.com/office/officeart/2005/8/layout/bList2"/>
    <dgm:cxn modelId="{DFF1C4B3-38B9-421C-BD73-A137224E9911}" srcId="{6D8D07D2-EBE6-4E95-A923-0CB6D27BC674}" destId="{86239325-1AEB-4F27-9F88-4889EDDF5ABD}" srcOrd="2" destOrd="0" parTransId="{4CE64674-AA6E-4400-8DED-A5F7FF1CE058}" sibTransId="{4B17E3A0-ED22-4CBC-941B-B42D8EDFB5CB}"/>
    <dgm:cxn modelId="{0FFFEAB7-CA6A-4E8A-B3BF-E5599916B7D1}" srcId="{6D8D07D2-EBE6-4E95-A923-0CB6D27BC674}" destId="{60CD81CE-A125-489B-83C4-D79CB4BDA78F}" srcOrd="1" destOrd="0" parTransId="{E1747C5B-F74C-44D6-9728-31054A19DBE8}" sibTransId="{D9FA17C8-81E2-4385-8BCC-6AE41C2E01E3}"/>
    <dgm:cxn modelId="{D86C1CB9-0290-4021-95C1-817CFA980717}" type="presOf" srcId="{D9FA17C8-81E2-4385-8BCC-6AE41C2E01E3}" destId="{DD2AB659-C022-44D7-939A-29E47F26A16C}" srcOrd="0" destOrd="0" presId="urn:microsoft.com/office/officeart/2005/8/layout/bList2"/>
    <dgm:cxn modelId="{251317BC-B26A-478C-AA8A-20EC9C673A39}" srcId="{D9476FBE-8165-4109-9767-A87597B7B4B1}" destId="{4484781B-0E1D-400E-A6CA-7F1F0817785D}" srcOrd="0" destOrd="0" parTransId="{266E7AE5-CDD9-42A7-980D-719DF528ACCA}" sibTransId="{A41949C9-E9BE-4B1E-ACA2-00F5788BFB86}"/>
    <dgm:cxn modelId="{7C9299BC-C3CD-4B50-B064-5851EBED1583}" srcId="{86239325-1AEB-4F27-9F88-4889EDDF5ABD}" destId="{08945A36-C3BB-46BB-AC05-AFAB570890E9}" srcOrd="3" destOrd="0" parTransId="{86B82B04-F800-40FF-836F-82C04CD00355}" sibTransId="{D2DC2447-C132-4426-A94F-949FFCF0892B}"/>
    <dgm:cxn modelId="{4A2867C8-2354-471E-B40C-953A5F25B17F}" type="presOf" srcId="{6D8D07D2-EBE6-4E95-A923-0CB6D27BC674}" destId="{AE7A6B6C-FD7B-46AA-A183-538609BBCAF5}" srcOrd="0" destOrd="0" presId="urn:microsoft.com/office/officeart/2005/8/layout/bList2"/>
    <dgm:cxn modelId="{B639CDC9-C94D-4C20-AAD6-875E0144097C}" type="presOf" srcId="{86ADBCED-F53F-4415-B9DE-78FC130E0D5E}" destId="{44190651-0C80-449F-9CD5-0E7E2B85D186}" srcOrd="0" destOrd="5" presId="urn:microsoft.com/office/officeart/2005/8/layout/bList2"/>
    <dgm:cxn modelId="{17FF63CC-C528-4818-AF89-04B81EC985B6}" type="presOf" srcId="{D9476FBE-8165-4109-9767-A87597B7B4B1}" destId="{08F78BE2-074C-4D3B-BBA2-2794A030F533}" srcOrd="0" destOrd="0" presId="urn:microsoft.com/office/officeart/2005/8/layout/bList2"/>
    <dgm:cxn modelId="{07D27FD1-6B39-4748-A0DE-ED98349D911A}" srcId="{86239325-1AEB-4F27-9F88-4889EDDF5ABD}" destId="{797CEED6-69DE-4B49-BDCB-F2632CBEC735}" srcOrd="0" destOrd="0" parTransId="{4FFD95B6-9AC0-4D35-8D8A-D90A65B46D99}" sibTransId="{46D0A655-908A-4DEC-975D-37113A17D9BF}"/>
    <dgm:cxn modelId="{FF2216DB-D28A-4C43-9ACF-518F7A324F15}" type="presOf" srcId="{86639756-6D5A-4CA6-B47D-CAB22AC1ED92}" destId="{7016E620-02D1-4762-AA49-8E34062DAD0E}" srcOrd="0" destOrd="5" presId="urn:microsoft.com/office/officeart/2005/8/layout/bList2"/>
    <dgm:cxn modelId="{F5E5FAE0-0DCE-44BA-9201-46BFAF081EF6}" srcId="{60CD81CE-A125-489B-83C4-D79CB4BDA78F}" destId="{E07946F7-8B62-4DE2-8347-DB7B5E126B62}" srcOrd="4" destOrd="0" parTransId="{A709B96F-1719-4E2D-A913-7579B662272D}" sibTransId="{0752E296-47BC-4DD1-B16E-739A64B801F8}"/>
    <dgm:cxn modelId="{CDD93CE1-04C1-468F-8D07-52F0B7E30FA0}" type="presOf" srcId="{4484781B-0E1D-400E-A6CA-7F1F0817785D}" destId="{44190651-0C80-449F-9CD5-0E7E2B85D186}" srcOrd="0" destOrd="0" presId="urn:microsoft.com/office/officeart/2005/8/layout/bList2"/>
    <dgm:cxn modelId="{1BF4BDE4-DDB4-441D-A1F0-1808C7FB0CB2}" srcId="{60CD81CE-A125-489B-83C4-D79CB4BDA78F}" destId="{3AC7681D-C0B0-4530-8BA4-BFB15A1BAEC8}" srcOrd="7" destOrd="0" parTransId="{EDC977E9-CDD8-4520-8CD5-069BD60A7132}" sibTransId="{6F656566-AF80-4945-997F-2C18D6EB42F5}"/>
    <dgm:cxn modelId="{73A45FE9-8859-4921-B6CF-441D21B0DEF8}" type="presOf" srcId="{69ABE5FE-5DE7-467C-B018-4E0B44A3DE53}" destId="{44190651-0C80-449F-9CD5-0E7E2B85D186}" srcOrd="0" destOrd="8" presId="urn:microsoft.com/office/officeart/2005/8/layout/bList2"/>
    <dgm:cxn modelId="{62756AF3-AE1E-494A-BAFF-AED7AA050234}" srcId="{D9476FBE-8165-4109-9767-A87597B7B4B1}" destId="{69ABE5FE-5DE7-467C-B018-4E0B44A3DE53}" srcOrd="8" destOrd="0" parTransId="{49C85216-E319-4115-9279-30FC3F682AB1}" sibTransId="{89D3FC64-21CE-4EDB-A08B-31D0E3521DC5}"/>
    <dgm:cxn modelId="{5766ECF3-891E-49FA-90CA-4D9E7216B670}" srcId="{D9476FBE-8165-4109-9767-A87597B7B4B1}" destId="{146B673C-9177-4905-84C5-96051A632BE2}" srcOrd="3" destOrd="0" parTransId="{B8B25A12-26F5-44D6-BEEF-A4625B461417}" sibTransId="{86F76F9B-12C8-4FDA-8962-86FED708A3E4}"/>
    <dgm:cxn modelId="{1F8C60FE-4061-4DAE-BC50-0C05321C19D2}" srcId="{60CD81CE-A125-489B-83C4-D79CB4BDA78F}" destId="{93802BEF-9450-4EF6-8C34-C7AF6FBFECAC}" srcOrd="3" destOrd="0" parTransId="{0DE32BF6-2C6F-4AB5-A8C3-B2C2C706BB55}" sibTransId="{9526B1F2-31E6-41B0-A6EF-483DC0234E70}"/>
    <dgm:cxn modelId="{0172A937-E7B7-436F-BC16-173AA2D23EB0}" type="presParOf" srcId="{AE7A6B6C-FD7B-46AA-A183-538609BBCAF5}" destId="{1547406B-19DD-4C16-B53A-1D8EDF2116F0}" srcOrd="0" destOrd="0" presId="urn:microsoft.com/office/officeart/2005/8/layout/bList2"/>
    <dgm:cxn modelId="{FE240297-C480-44DE-912B-718D841D6BA9}" type="presParOf" srcId="{1547406B-19DD-4C16-B53A-1D8EDF2116F0}" destId="{44190651-0C80-449F-9CD5-0E7E2B85D186}" srcOrd="0" destOrd="0" presId="urn:microsoft.com/office/officeart/2005/8/layout/bList2"/>
    <dgm:cxn modelId="{731D05B8-C2D8-41F5-B9D3-4C95880EACF0}" type="presParOf" srcId="{1547406B-19DD-4C16-B53A-1D8EDF2116F0}" destId="{08F78BE2-074C-4D3B-BBA2-2794A030F533}" srcOrd="1" destOrd="0" presId="urn:microsoft.com/office/officeart/2005/8/layout/bList2"/>
    <dgm:cxn modelId="{4E49F07F-E33F-4CD9-9A4A-48D22DE310DF}" type="presParOf" srcId="{1547406B-19DD-4C16-B53A-1D8EDF2116F0}" destId="{8587CA4C-8BFA-4C5E-8127-0898D091276B}" srcOrd="2" destOrd="0" presId="urn:microsoft.com/office/officeart/2005/8/layout/bList2"/>
    <dgm:cxn modelId="{DDE78E01-0D8B-46C3-BDEF-19A7B80BA3FC}" type="presParOf" srcId="{1547406B-19DD-4C16-B53A-1D8EDF2116F0}" destId="{E260ADB4-5D1B-4F2B-90B2-E23F792116A9}" srcOrd="3" destOrd="0" presId="urn:microsoft.com/office/officeart/2005/8/layout/bList2"/>
    <dgm:cxn modelId="{19C6C236-C425-426B-9735-A0C1A174E0A8}" type="presParOf" srcId="{AE7A6B6C-FD7B-46AA-A183-538609BBCAF5}" destId="{16B85D19-3F26-4235-9E25-3239A5929994}" srcOrd="1" destOrd="0" presId="urn:microsoft.com/office/officeart/2005/8/layout/bList2"/>
    <dgm:cxn modelId="{2536BB2B-7D43-4617-9EE2-351991BE7D7E}" type="presParOf" srcId="{AE7A6B6C-FD7B-46AA-A183-538609BBCAF5}" destId="{216B797C-AEB2-4D21-94DF-3825D040C082}" srcOrd="2" destOrd="0" presId="urn:microsoft.com/office/officeart/2005/8/layout/bList2"/>
    <dgm:cxn modelId="{5686B4D4-23D5-458D-98D2-0181538E02F3}" type="presParOf" srcId="{216B797C-AEB2-4D21-94DF-3825D040C082}" destId="{103E9761-C771-4580-A191-3B2F900C0359}" srcOrd="0" destOrd="0" presId="urn:microsoft.com/office/officeart/2005/8/layout/bList2"/>
    <dgm:cxn modelId="{7C00AB3A-1644-4D2F-AB20-248290DB76A7}" type="presParOf" srcId="{216B797C-AEB2-4D21-94DF-3825D040C082}" destId="{6A8F63AB-9F25-4EE0-AA2E-D6DDB10D47AF}" srcOrd="1" destOrd="0" presId="urn:microsoft.com/office/officeart/2005/8/layout/bList2"/>
    <dgm:cxn modelId="{728908B4-0A4E-4051-A385-10B10FF192C8}" type="presParOf" srcId="{216B797C-AEB2-4D21-94DF-3825D040C082}" destId="{47707A2C-44EC-4031-B4D3-9C342E5DC270}" srcOrd="2" destOrd="0" presId="urn:microsoft.com/office/officeart/2005/8/layout/bList2"/>
    <dgm:cxn modelId="{49EDF21E-F53E-4923-9871-5D4AAFF0FBFE}" type="presParOf" srcId="{216B797C-AEB2-4D21-94DF-3825D040C082}" destId="{D4FC4B7B-35B2-4DCF-AEB0-78B511F5BA8E}" srcOrd="3" destOrd="0" presId="urn:microsoft.com/office/officeart/2005/8/layout/bList2"/>
    <dgm:cxn modelId="{17FB60AF-AA36-405B-BC79-16BA3175D190}" type="presParOf" srcId="{AE7A6B6C-FD7B-46AA-A183-538609BBCAF5}" destId="{DD2AB659-C022-44D7-939A-29E47F26A16C}" srcOrd="3" destOrd="0" presId="urn:microsoft.com/office/officeart/2005/8/layout/bList2"/>
    <dgm:cxn modelId="{06565CEB-7CD1-4606-8E3E-F6B997DEA2D1}" type="presParOf" srcId="{AE7A6B6C-FD7B-46AA-A183-538609BBCAF5}" destId="{8525250D-64EB-4A67-8F9A-C635F3F788D3}" srcOrd="4" destOrd="0" presId="urn:microsoft.com/office/officeart/2005/8/layout/bList2"/>
    <dgm:cxn modelId="{E24ADFA2-7B07-4B53-913B-825F0210B607}" type="presParOf" srcId="{8525250D-64EB-4A67-8F9A-C635F3F788D3}" destId="{7016E620-02D1-4762-AA49-8E34062DAD0E}" srcOrd="0" destOrd="0" presId="urn:microsoft.com/office/officeart/2005/8/layout/bList2"/>
    <dgm:cxn modelId="{FAE19525-F40D-4049-A1C1-66F4729B047A}" type="presParOf" srcId="{8525250D-64EB-4A67-8F9A-C635F3F788D3}" destId="{C28BB8E6-D1DE-487A-9E2F-F812BBD4CE61}" srcOrd="1" destOrd="0" presId="urn:microsoft.com/office/officeart/2005/8/layout/bList2"/>
    <dgm:cxn modelId="{3D0BF424-8B8A-43E1-B8BB-25D43D000FD9}" type="presParOf" srcId="{8525250D-64EB-4A67-8F9A-C635F3F788D3}" destId="{DD7AE484-8290-41F8-9DE9-29DAED3E563D}" srcOrd="2" destOrd="0" presId="urn:microsoft.com/office/officeart/2005/8/layout/bList2"/>
    <dgm:cxn modelId="{AC208E63-360E-4C9E-8B63-971339C4CB04}" type="presParOf" srcId="{8525250D-64EB-4A67-8F9A-C635F3F788D3}" destId="{CD7CBC92-B28A-416F-8CA1-793FD772B2C6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8F1FFD-2C1B-4247-BC47-C0CCEBBCE40F}">
      <dsp:nvSpPr>
        <dsp:cNvPr id="0" name=""/>
        <dsp:cNvSpPr/>
      </dsp:nvSpPr>
      <dsp:spPr>
        <a:xfrm>
          <a:off x="2911" y="480054"/>
          <a:ext cx="2309455" cy="1385673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l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l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005837"/>
              </a:solidFill>
            </a:rPr>
            <a:t>Public Finance Consulting Firm</a:t>
          </a:r>
        </a:p>
      </dsp:txBody>
      <dsp:txXfrm>
        <a:off x="2911" y="480054"/>
        <a:ext cx="2309455" cy="1385673"/>
      </dsp:txXfrm>
    </dsp:sp>
    <dsp:sp modelId="{37EB7A60-5755-432C-A470-BBD4CF6AD292}">
      <dsp:nvSpPr>
        <dsp:cNvPr id="0" name=""/>
        <dsp:cNvSpPr/>
      </dsp:nvSpPr>
      <dsp:spPr>
        <a:xfrm>
          <a:off x="2543311" y="480054"/>
          <a:ext cx="2309455" cy="1385673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l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l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005837"/>
              </a:solidFill>
            </a:rPr>
            <a:t>Serving California Public Agencies for Over 40 Years</a:t>
          </a:r>
        </a:p>
      </dsp:txBody>
      <dsp:txXfrm>
        <a:off x="2543311" y="480054"/>
        <a:ext cx="2309455" cy="1385673"/>
      </dsp:txXfrm>
    </dsp:sp>
    <dsp:sp modelId="{AA0D0AC0-82E5-49DC-BCAF-0E81A3795E49}">
      <dsp:nvSpPr>
        <dsp:cNvPr id="0" name=""/>
        <dsp:cNvSpPr/>
      </dsp:nvSpPr>
      <dsp:spPr>
        <a:xfrm>
          <a:off x="5083712" y="480054"/>
          <a:ext cx="2309455" cy="1385673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l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l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005837"/>
              </a:solidFill>
            </a:rPr>
            <a:t>Serving Cameron Park CSD Since 2004</a:t>
          </a:r>
        </a:p>
      </dsp:txBody>
      <dsp:txXfrm>
        <a:off x="5083712" y="480054"/>
        <a:ext cx="2309455" cy="1385673"/>
      </dsp:txXfrm>
    </dsp:sp>
    <dsp:sp modelId="{DD56AD49-CB60-4A29-8CA0-52A5D22B17A1}">
      <dsp:nvSpPr>
        <dsp:cNvPr id="0" name=""/>
        <dsp:cNvSpPr/>
      </dsp:nvSpPr>
      <dsp:spPr>
        <a:xfrm>
          <a:off x="7624113" y="480054"/>
          <a:ext cx="2309455" cy="1385673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l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l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005837"/>
              </a:solidFill>
            </a:rPr>
            <a:t>Located in Fairfield, CA</a:t>
          </a:r>
        </a:p>
      </dsp:txBody>
      <dsp:txXfrm>
        <a:off x="7624113" y="480054"/>
        <a:ext cx="2309455" cy="1385673"/>
      </dsp:txXfrm>
    </dsp:sp>
    <dsp:sp modelId="{3E944597-377A-49B7-A3EB-45705C14C082}">
      <dsp:nvSpPr>
        <dsp:cNvPr id="0" name=""/>
        <dsp:cNvSpPr/>
      </dsp:nvSpPr>
      <dsp:spPr>
        <a:xfrm>
          <a:off x="1273111" y="2096672"/>
          <a:ext cx="2309455" cy="1385673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l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l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005837"/>
              </a:solidFill>
            </a:rPr>
            <a:t>Revenue Enhancement Mission</a:t>
          </a:r>
        </a:p>
      </dsp:txBody>
      <dsp:txXfrm>
        <a:off x="1273111" y="2096672"/>
        <a:ext cx="2309455" cy="1385673"/>
      </dsp:txXfrm>
    </dsp:sp>
    <dsp:sp modelId="{CFB01A84-AFAB-42EC-81E3-57A5E4B475EA}">
      <dsp:nvSpPr>
        <dsp:cNvPr id="0" name=""/>
        <dsp:cNvSpPr/>
      </dsp:nvSpPr>
      <dsp:spPr>
        <a:xfrm>
          <a:off x="3813512" y="2096672"/>
          <a:ext cx="2309455" cy="1385673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l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l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005837"/>
              </a:solidFill>
            </a:rPr>
            <a:t>Industry-Leading Expertise in Districtwide Local Funding Measures</a:t>
          </a:r>
        </a:p>
      </dsp:txBody>
      <dsp:txXfrm>
        <a:off x="3813512" y="2096672"/>
        <a:ext cx="2309455" cy="1385673"/>
      </dsp:txXfrm>
    </dsp:sp>
    <dsp:sp modelId="{6D67F3DC-6F00-4D46-8E18-2273E6B8FDC6}">
      <dsp:nvSpPr>
        <dsp:cNvPr id="0" name=""/>
        <dsp:cNvSpPr/>
      </dsp:nvSpPr>
      <dsp:spPr>
        <a:xfrm>
          <a:off x="6345668" y="2096575"/>
          <a:ext cx="2309455" cy="1385673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l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l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rgbClr val="005837"/>
              </a:solidFill>
            </a:rPr>
            <a:t>Active CSDA, CARPD, and FDAC Members</a:t>
          </a:r>
        </a:p>
      </dsp:txBody>
      <dsp:txXfrm>
        <a:off x="6345668" y="2096575"/>
        <a:ext cx="2309455" cy="138567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0D884A-7A2D-4549-8389-3FF1100DA63F}">
      <dsp:nvSpPr>
        <dsp:cNvPr id="0" name=""/>
        <dsp:cNvSpPr/>
      </dsp:nvSpPr>
      <dsp:spPr>
        <a:xfrm>
          <a:off x="135459" y="373520"/>
          <a:ext cx="1295909" cy="1295909"/>
        </a:xfrm>
        <a:prstGeom prst="ellipse">
          <a:avLst/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380B165-B673-4F19-A3B3-F0DA7587AFF0}">
      <dsp:nvSpPr>
        <dsp:cNvPr id="0" name=""/>
        <dsp:cNvSpPr/>
      </dsp:nvSpPr>
      <dsp:spPr>
        <a:xfrm>
          <a:off x="134191" y="372253"/>
          <a:ext cx="1298444" cy="1298444"/>
        </a:xfrm>
        <a:prstGeom prst="rect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00CB89-B37C-46FB-9D51-DE4623609988}">
      <dsp:nvSpPr>
        <dsp:cNvPr id="0" name=""/>
        <dsp:cNvSpPr/>
      </dsp:nvSpPr>
      <dsp:spPr>
        <a:xfrm>
          <a:off x="1709064" y="373520"/>
          <a:ext cx="3054644" cy="12959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/>
            <a:t>3</a:t>
          </a:r>
          <a:r>
            <a:rPr lang="en-US" sz="2800" kern="1200" dirty="0"/>
            <a:t> Local Funding  Measures</a:t>
          </a:r>
        </a:p>
      </dsp:txBody>
      <dsp:txXfrm>
        <a:off x="1709064" y="373520"/>
        <a:ext cx="3054644" cy="1295909"/>
      </dsp:txXfrm>
    </dsp:sp>
    <dsp:sp modelId="{DC977654-D3C0-4204-892B-F6648EAA6391}">
      <dsp:nvSpPr>
        <dsp:cNvPr id="0" name=""/>
        <dsp:cNvSpPr/>
      </dsp:nvSpPr>
      <dsp:spPr>
        <a:xfrm>
          <a:off x="5295958" y="373520"/>
          <a:ext cx="1295909" cy="129590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EBE400-2D11-4459-B763-EF051D5A4AF1}">
      <dsp:nvSpPr>
        <dsp:cNvPr id="0" name=""/>
        <dsp:cNvSpPr/>
      </dsp:nvSpPr>
      <dsp:spPr>
        <a:xfrm>
          <a:off x="5568099" y="645661"/>
          <a:ext cx="751627" cy="751627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F6D0E1-3E49-400A-AD20-B63676F891D1}">
      <dsp:nvSpPr>
        <dsp:cNvPr id="0" name=""/>
        <dsp:cNvSpPr/>
      </dsp:nvSpPr>
      <dsp:spPr>
        <a:xfrm>
          <a:off x="6869563" y="373520"/>
          <a:ext cx="3054644" cy="12959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/>
            <a:t>3</a:t>
          </a:r>
          <a:r>
            <a:rPr lang="en-US" sz="2800" kern="1200" dirty="0"/>
            <a:t> Revenue Enhancement Hurdles</a:t>
          </a:r>
        </a:p>
      </dsp:txBody>
      <dsp:txXfrm>
        <a:off x="6869563" y="373520"/>
        <a:ext cx="3054644" cy="1295909"/>
      </dsp:txXfrm>
    </dsp:sp>
    <dsp:sp modelId="{5C5E8020-AE73-45E5-A35A-415C032933E4}">
      <dsp:nvSpPr>
        <dsp:cNvPr id="0" name=""/>
        <dsp:cNvSpPr/>
      </dsp:nvSpPr>
      <dsp:spPr>
        <a:xfrm>
          <a:off x="134191" y="2354561"/>
          <a:ext cx="1295909" cy="129590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1FC913-BDEF-4D44-8353-9FB2576F0FDA}">
      <dsp:nvSpPr>
        <dsp:cNvPr id="0" name=""/>
        <dsp:cNvSpPr/>
      </dsp:nvSpPr>
      <dsp:spPr>
        <a:xfrm>
          <a:off x="406333" y="2626702"/>
          <a:ext cx="751627" cy="751627"/>
        </a:xfrm>
        <a:prstGeom prst="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a:blip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51C91F-F57A-420C-8FEE-32A918488903}">
      <dsp:nvSpPr>
        <dsp:cNvPr id="0" name=""/>
        <dsp:cNvSpPr/>
      </dsp:nvSpPr>
      <dsp:spPr>
        <a:xfrm>
          <a:off x="1707796" y="2354561"/>
          <a:ext cx="3054644" cy="12959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/>
            <a:t>1</a:t>
          </a:r>
          <a:r>
            <a:rPr lang="en-US" sz="2800" kern="1200"/>
            <a:t> Process</a:t>
          </a:r>
          <a:endParaRPr lang="en-US" sz="2800" kern="1200" dirty="0"/>
        </a:p>
      </dsp:txBody>
      <dsp:txXfrm>
        <a:off x="1707796" y="2354561"/>
        <a:ext cx="3054644" cy="1295909"/>
      </dsp:txXfrm>
    </dsp:sp>
    <dsp:sp modelId="{1F05ABD4-DAC1-487A-A0CC-2482A88393AA}">
      <dsp:nvSpPr>
        <dsp:cNvPr id="0" name=""/>
        <dsp:cNvSpPr/>
      </dsp:nvSpPr>
      <dsp:spPr>
        <a:xfrm>
          <a:off x="5294690" y="2354561"/>
          <a:ext cx="1295909" cy="1295909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C9D518-0EF7-44E2-8430-A4D6A1EF8499}">
      <dsp:nvSpPr>
        <dsp:cNvPr id="0" name=""/>
        <dsp:cNvSpPr/>
      </dsp:nvSpPr>
      <dsp:spPr>
        <a:xfrm>
          <a:off x="5566831" y="2626702"/>
          <a:ext cx="751627" cy="751627"/>
        </a:xfrm>
        <a:prstGeom prst="rect">
          <a:avLst/>
        </a:prstGeom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a:blip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FACBD3-1EF3-45B3-A171-31C8766EF3EE}">
      <dsp:nvSpPr>
        <dsp:cNvPr id="0" name=""/>
        <dsp:cNvSpPr/>
      </dsp:nvSpPr>
      <dsp:spPr>
        <a:xfrm>
          <a:off x="6868295" y="2354561"/>
          <a:ext cx="3054644" cy="12959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Questions</a:t>
          </a:r>
          <a:endParaRPr lang="en-US" sz="2800" kern="1200" dirty="0"/>
        </a:p>
      </dsp:txBody>
      <dsp:txXfrm>
        <a:off x="6868295" y="2354561"/>
        <a:ext cx="3054644" cy="129590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72FFE1-9131-41EB-B910-83319E688684}">
      <dsp:nvSpPr>
        <dsp:cNvPr id="0" name=""/>
        <dsp:cNvSpPr/>
      </dsp:nvSpPr>
      <dsp:spPr>
        <a:xfrm>
          <a:off x="284174" y="122897"/>
          <a:ext cx="885691" cy="885691"/>
        </a:xfrm>
        <a:prstGeom prst="ellipse">
          <a:avLst/>
        </a:prstGeom>
        <a:solidFill>
          <a:schemeClr val="bg1"/>
        </a:solidFill>
        <a:ln w="12700">
          <a:solidFill>
            <a:schemeClr val="tx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6DD189-F457-4BCA-9436-11C1CD080A59}">
      <dsp:nvSpPr>
        <dsp:cNvPr id="0" name=""/>
        <dsp:cNvSpPr/>
      </dsp:nvSpPr>
      <dsp:spPr>
        <a:xfrm>
          <a:off x="472928" y="311651"/>
          <a:ext cx="508183" cy="508183"/>
        </a:xfrm>
        <a:prstGeom prst="rect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B025D9-7CAC-4C99-9C66-F05C592DDB35}">
      <dsp:nvSpPr>
        <dsp:cNvPr id="0" name=""/>
        <dsp:cNvSpPr/>
      </dsp:nvSpPr>
      <dsp:spPr>
        <a:xfrm>
          <a:off x="1044" y="1284460"/>
          <a:ext cx="1451953" cy="5807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800" kern="1200" cap="none" dirty="0"/>
            <a:t>Financial</a:t>
          </a:r>
        </a:p>
      </dsp:txBody>
      <dsp:txXfrm>
        <a:off x="1044" y="1284460"/>
        <a:ext cx="1451953" cy="580781"/>
      </dsp:txXfrm>
    </dsp:sp>
    <dsp:sp modelId="{4E10C09E-FF25-4FD3-9611-5D70F2D5B504}">
      <dsp:nvSpPr>
        <dsp:cNvPr id="0" name=""/>
        <dsp:cNvSpPr/>
      </dsp:nvSpPr>
      <dsp:spPr>
        <a:xfrm>
          <a:off x="1990219" y="122897"/>
          <a:ext cx="885691" cy="885691"/>
        </a:xfrm>
        <a:prstGeom prst="ellipse">
          <a:avLst/>
        </a:prstGeom>
        <a:noFill/>
        <a:ln w="12700">
          <a:solidFill>
            <a:schemeClr val="tx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5624AE-A4BD-47C3-8389-DBD6C032BE44}">
      <dsp:nvSpPr>
        <dsp:cNvPr id="0" name=""/>
        <dsp:cNvSpPr/>
      </dsp:nvSpPr>
      <dsp:spPr>
        <a:xfrm>
          <a:off x="2178973" y="311651"/>
          <a:ext cx="508183" cy="508183"/>
        </a:xfrm>
        <a:prstGeom prst="rect">
          <a:avLst/>
        </a:prstGeom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3B0C2EC-5FFD-4D54-A828-F0F7701A4902}">
      <dsp:nvSpPr>
        <dsp:cNvPr id="0" name=""/>
        <dsp:cNvSpPr/>
      </dsp:nvSpPr>
      <dsp:spPr>
        <a:xfrm>
          <a:off x="1707088" y="1284460"/>
          <a:ext cx="1451953" cy="5807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800" kern="1200" cap="none" dirty="0"/>
            <a:t>Legal</a:t>
          </a:r>
        </a:p>
      </dsp:txBody>
      <dsp:txXfrm>
        <a:off x="1707088" y="1284460"/>
        <a:ext cx="1451953" cy="580781"/>
      </dsp:txXfrm>
    </dsp:sp>
    <dsp:sp modelId="{ED0EDF86-F9DD-4AE7-ABAD-DC39EA28849C}">
      <dsp:nvSpPr>
        <dsp:cNvPr id="0" name=""/>
        <dsp:cNvSpPr/>
      </dsp:nvSpPr>
      <dsp:spPr>
        <a:xfrm>
          <a:off x="3696264" y="122897"/>
          <a:ext cx="885691" cy="885691"/>
        </a:xfrm>
        <a:prstGeom prst="ellipse">
          <a:avLst/>
        </a:prstGeom>
        <a:noFill/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A8D22E-C4B2-4E8F-9791-E6F42CD1344A}">
      <dsp:nvSpPr>
        <dsp:cNvPr id="0" name=""/>
        <dsp:cNvSpPr/>
      </dsp:nvSpPr>
      <dsp:spPr>
        <a:xfrm>
          <a:off x="3885018" y="311651"/>
          <a:ext cx="508183" cy="508183"/>
        </a:xfrm>
        <a:prstGeom prst="rect">
          <a:avLst/>
        </a:prstGeom>
        <a:blipFill rotWithShape="1">
          <a:blip xmlns:r="http://schemas.openxmlformats.org/officeDocument/2006/relationships" r:embed="rId3"/>
          <a:srcRect/>
          <a:stretch>
            <a:fillRect/>
          </a:stretch>
        </a:blip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88F754-CBC4-41F2-A8EF-6497B9C28DA8}">
      <dsp:nvSpPr>
        <dsp:cNvPr id="0" name=""/>
        <dsp:cNvSpPr/>
      </dsp:nvSpPr>
      <dsp:spPr>
        <a:xfrm>
          <a:off x="3413133" y="1284460"/>
          <a:ext cx="1451953" cy="5807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800" kern="1200" cap="none" dirty="0"/>
            <a:t>Political</a:t>
          </a:r>
        </a:p>
      </dsp:txBody>
      <dsp:txXfrm>
        <a:off x="3413133" y="1284460"/>
        <a:ext cx="1451953" cy="58078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190651-0C80-449F-9CD5-0E7E2B85D186}">
      <dsp:nvSpPr>
        <dsp:cNvPr id="0" name=""/>
        <dsp:cNvSpPr/>
      </dsp:nvSpPr>
      <dsp:spPr>
        <a:xfrm>
          <a:off x="1279" y="48785"/>
          <a:ext cx="3182798" cy="3864829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Operations, maintenance and improvement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Robust engineer’s repor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General benefit requir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Zones of benefit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Various rates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100" kern="1200" dirty="0"/>
        </a:p>
      </dsp:txBody>
      <dsp:txXfrm>
        <a:off x="75856" y="123362"/>
        <a:ext cx="3033644" cy="3790252"/>
      </dsp:txXfrm>
    </dsp:sp>
    <dsp:sp modelId="{8587CA4C-8BFA-4C5E-8127-0898D091276B}">
      <dsp:nvSpPr>
        <dsp:cNvPr id="0" name=""/>
        <dsp:cNvSpPr/>
      </dsp:nvSpPr>
      <dsp:spPr>
        <a:xfrm>
          <a:off x="91347" y="2767284"/>
          <a:ext cx="3002663" cy="676032"/>
        </a:xfrm>
        <a:prstGeom prst="rect">
          <a:avLst/>
        </a:prstGeom>
        <a:solidFill>
          <a:srgbClr val="005837">
            <a:alpha val="15000"/>
          </a:srgb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0" rIns="46990" bIns="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>
              <a:solidFill>
                <a:schemeClr val="tx1"/>
              </a:solidFill>
            </a:rPr>
            <a:t>Financial</a:t>
          </a:r>
        </a:p>
      </dsp:txBody>
      <dsp:txXfrm>
        <a:off x="91347" y="2767284"/>
        <a:ext cx="2114551" cy="676032"/>
      </dsp:txXfrm>
    </dsp:sp>
    <dsp:sp modelId="{E260ADB4-5D1B-4F2B-90B2-E23F792116A9}">
      <dsp:nvSpPr>
        <dsp:cNvPr id="0" name=""/>
        <dsp:cNvSpPr/>
      </dsp:nvSpPr>
      <dsp:spPr>
        <a:xfrm>
          <a:off x="2280587" y="2835833"/>
          <a:ext cx="737139" cy="737139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27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3E9761-C771-4580-A191-3B2F900C0359}">
      <dsp:nvSpPr>
        <dsp:cNvPr id="0" name=""/>
        <dsp:cNvSpPr/>
      </dsp:nvSpPr>
      <dsp:spPr>
        <a:xfrm>
          <a:off x="3366699" y="48785"/>
          <a:ext cx="3182798" cy="3864829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Proposition 218 Complianc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Legal environment difficul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Active involvement of legal counsel</a:t>
          </a:r>
        </a:p>
      </dsp:txBody>
      <dsp:txXfrm>
        <a:off x="3441276" y="123362"/>
        <a:ext cx="3033644" cy="3790252"/>
      </dsp:txXfrm>
    </dsp:sp>
    <dsp:sp modelId="{47707A2C-44EC-4031-B4D3-9C342E5DC270}">
      <dsp:nvSpPr>
        <dsp:cNvPr id="0" name=""/>
        <dsp:cNvSpPr/>
      </dsp:nvSpPr>
      <dsp:spPr>
        <a:xfrm>
          <a:off x="3520403" y="2767284"/>
          <a:ext cx="2875390" cy="676032"/>
        </a:xfrm>
        <a:prstGeom prst="rect">
          <a:avLst/>
        </a:prstGeom>
        <a:solidFill>
          <a:srgbClr val="005837">
            <a:alpha val="15000"/>
          </a:srgb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0" rIns="46990" bIns="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>
              <a:solidFill>
                <a:schemeClr val="tx1"/>
              </a:solidFill>
            </a:rPr>
            <a:t>Legal 	</a:t>
          </a:r>
        </a:p>
      </dsp:txBody>
      <dsp:txXfrm>
        <a:off x="3520403" y="2767284"/>
        <a:ext cx="2024923" cy="676032"/>
      </dsp:txXfrm>
    </dsp:sp>
    <dsp:sp modelId="{D4FC4B7B-35B2-4DCF-AEB0-78B511F5BA8E}">
      <dsp:nvSpPr>
        <dsp:cNvPr id="0" name=""/>
        <dsp:cNvSpPr/>
      </dsp:nvSpPr>
      <dsp:spPr>
        <a:xfrm>
          <a:off x="5541216" y="2835833"/>
          <a:ext cx="737139" cy="737139"/>
        </a:xfrm>
        <a:prstGeom prst="ellipse">
          <a:avLst/>
        </a:prstGeom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 w="12700" cap="flat" cmpd="sng" algn="ctr">
          <a:solidFill>
            <a:srgbClr val="005837">
              <a:alpha val="9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16E620-02D1-4762-AA49-8E34062DAD0E}">
      <dsp:nvSpPr>
        <dsp:cNvPr id="0" name=""/>
        <dsp:cNvSpPr/>
      </dsp:nvSpPr>
      <dsp:spPr>
        <a:xfrm>
          <a:off x="6732120" y="36467"/>
          <a:ext cx="3203080" cy="3889465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Property Owners Vot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Various Boundaries 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Weighted 50% + support by proposed assess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45-Day Mailed Ballot Proceeding </a:t>
          </a:r>
        </a:p>
      </dsp:txBody>
      <dsp:txXfrm>
        <a:off x="6807172" y="111519"/>
        <a:ext cx="3052976" cy="3814413"/>
      </dsp:txXfrm>
    </dsp:sp>
    <dsp:sp modelId="{DD7AE484-8290-41F8-9DE9-29DAED3E563D}">
      <dsp:nvSpPr>
        <dsp:cNvPr id="0" name=""/>
        <dsp:cNvSpPr/>
      </dsp:nvSpPr>
      <dsp:spPr>
        <a:xfrm>
          <a:off x="6873187" y="2767284"/>
          <a:ext cx="2920945" cy="676032"/>
        </a:xfrm>
        <a:prstGeom prst="rect">
          <a:avLst/>
        </a:prstGeom>
        <a:solidFill>
          <a:srgbClr val="005837">
            <a:alpha val="15000"/>
          </a:srgb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0" rIns="46990" bIns="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>
              <a:solidFill>
                <a:schemeClr val="tx1"/>
              </a:solidFill>
            </a:rPr>
            <a:t>Political</a:t>
          </a:r>
        </a:p>
      </dsp:txBody>
      <dsp:txXfrm>
        <a:off x="6873187" y="2767284"/>
        <a:ext cx="2057004" cy="676032"/>
      </dsp:txXfrm>
    </dsp:sp>
    <dsp:sp modelId="{CD7CBC92-B28A-416F-8CA1-793FD772B2C6}">
      <dsp:nvSpPr>
        <dsp:cNvPr id="0" name=""/>
        <dsp:cNvSpPr/>
      </dsp:nvSpPr>
      <dsp:spPr>
        <a:xfrm>
          <a:off x="9061309" y="2812097"/>
          <a:ext cx="737139" cy="737139"/>
        </a:xfrm>
        <a:prstGeom prst="ellipse">
          <a:avLst/>
        </a:prstGeom>
        <a:blipFill rotWithShape="1">
          <a:blip xmlns:r="http://schemas.openxmlformats.org/officeDocument/2006/relationships" r:embed="rId3"/>
          <a:srcRect/>
          <a:stretch>
            <a:fillRect/>
          </a:stretch>
        </a:blip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190651-0C80-449F-9CD5-0E7E2B85D186}">
      <dsp:nvSpPr>
        <dsp:cNvPr id="0" name=""/>
        <dsp:cNvSpPr/>
      </dsp:nvSpPr>
      <dsp:spPr>
        <a:xfrm>
          <a:off x="3914" y="46158"/>
          <a:ext cx="3236814" cy="3930408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Operation, Maintenance and improvement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Uniformity requirement for improved land use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Wide use of fund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No legal justification necessary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100" kern="1200" dirty="0"/>
        </a:p>
      </dsp:txBody>
      <dsp:txXfrm>
        <a:off x="79756" y="122000"/>
        <a:ext cx="3085130" cy="3854566"/>
      </dsp:txXfrm>
    </dsp:sp>
    <dsp:sp modelId="{8587CA4C-8BFA-4C5E-8127-0898D091276B}">
      <dsp:nvSpPr>
        <dsp:cNvPr id="0" name=""/>
        <dsp:cNvSpPr/>
      </dsp:nvSpPr>
      <dsp:spPr>
        <a:xfrm>
          <a:off x="120657" y="2823158"/>
          <a:ext cx="3003328" cy="698144"/>
        </a:xfrm>
        <a:prstGeom prst="rect">
          <a:avLst/>
        </a:prstGeom>
        <a:solidFill>
          <a:srgbClr val="005837">
            <a:alpha val="15000"/>
          </a:srgb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0" rIns="46990" bIns="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>
              <a:solidFill>
                <a:schemeClr val="tx1"/>
              </a:solidFill>
            </a:rPr>
            <a:t>Financial</a:t>
          </a:r>
        </a:p>
      </dsp:txBody>
      <dsp:txXfrm>
        <a:off x="120657" y="2823158"/>
        <a:ext cx="2115019" cy="698144"/>
      </dsp:txXfrm>
    </dsp:sp>
    <dsp:sp modelId="{E260ADB4-5D1B-4F2B-90B2-E23F792116A9}">
      <dsp:nvSpPr>
        <dsp:cNvPr id="0" name=""/>
        <dsp:cNvSpPr/>
      </dsp:nvSpPr>
      <dsp:spPr>
        <a:xfrm>
          <a:off x="2297843" y="2805713"/>
          <a:ext cx="761250" cy="761250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27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3E9761-C771-4580-A191-3B2F900C0359}">
      <dsp:nvSpPr>
        <dsp:cNvPr id="0" name=""/>
        <dsp:cNvSpPr/>
      </dsp:nvSpPr>
      <dsp:spPr>
        <a:xfrm>
          <a:off x="3429323" y="46158"/>
          <a:ext cx="3236814" cy="3930408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Govt. Code § 50075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Uniformity requirement for improved land use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Minimal legal counsel involv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Low risk of challeng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</dsp:txBody>
      <dsp:txXfrm>
        <a:off x="3505165" y="122000"/>
        <a:ext cx="3085130" cy="3854566"/>
      </dsp:txXfrm>
    </dsp:sp>
    <dsp:sp modelId="{47707A2C-44EC-4031-B4D3-9C342E5DC270}">
      <dsp:nvSpPr>
        <dsp:cNvPr id="0" name=""/>
        <dsp:cNvSpPr/>
      </dsp:nvSpPr>
      <dsp:spPr>
        <a:xfrm>
          <a:off x="3549666" y="2823158"/>
          <a:ext cx="2996129" cy="698144"/>
        </a:xfrm>
        <a:prstGeom prst="rect">
          <a:avLst/>
        </a:prstGeom>
        <a:solidFill>
          <a:srgbClr val="005837">
            <a:alpha val="15000"/>
          </a:srgb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0" rIns="46990" bIns="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>
              <a:solidFill>
                <a:schemeClr val="tx1"/>
              </a:solidFill>
            </a:rPr>
            <a:t>Legal 	</a:t>
          </a:r>
        </a:p>
      </dsp:txBody>
      <dsp:txXfrm>
        <a:off x="3549666" y="2823158"/>
        <a:ext cx="2109950" cy="698144"/>
      </dsp:txXfrm>
    </dsp:sp>
    <dsp:sp modelId="{D4FC4B7B-35B2-4DCF-AEB0-78B511F5BA8E}">
      <dsp:nvSpPr>
        <dsp:cNvPr id="0" name=""/>
        <dsp:cNvSpPr/>
      </dsp:nvSpPr>
      <dsp:spPr>
        <a:xfrm>
          <a:off x="5742543" y="2834442"/>
          <a:ext cx="761250" cy="761250"/>
        </a:xfrm>
        <a:prstGeom prst="ellipse">
          <a:avLst/>
        </a:prstGeom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16E620-02D1-4762-AA49-8E34062DAD0E}">
      <dsp:nvSpPr>
        <dsp:cNvPr id="0" name=""/>
        <dsp:cNvSpPr/>
      </dsp:nvSpPr>
      <dsp:spPr>
        <a:xfrm>
          <a:off x="6854733" y="82705"/>
          <a:ext cx="3199752" cy="3857314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Participating Registered Voter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Districtwide Only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2/3rds support threshold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Polling place OR 30-Day Mailed Ballot 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</dsp:txBody>
      <dsp:txXfrm>
        <a:off x="6929707" y="157679"/>
        <a:ext cx="3049804" cy="3782340"/>
      </dsp:txXfrm>
    </dsp:sp>
    <dsp:sp modelId="{DD7AE484-8290-41F8-9DE9-29DAED3E563D}">
      <dsp:nvSpPr>
        <dsp:cNvPr id="0" name=""/>
        <dsp:cNvSpPr/>
      </dsp:nvSpPr>
      <dsp:spPr>
        <a:xfrm>
          <a:off x="6902420" y="2823158"/>
          <a:ext cx="3104378" cy="698144"/>
        </a:xfrm>
        <a:prstGeom prst="rect">
          <a:avLst/>
        </a:prstGeom>
        <a:solidFill>
          <a:srgbClr val="005837">
            <a:alpha val="15000"/>
          </a:srgb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0" rIns="46990" bIns="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>
              <a:solidFill>
                <a:schemeClr val="tx1"/>
              </a:solidFill>
            </a:rPr>
            <a:t>Political</a:t>
          </a:r>
        </a:p>
      </dsp:txBody>
      <dsp:txXfrm>
        <a:off x="6902420" y="2823158"/>
        <a:ext cx="2186182" cy="698144"/>
      </dsp:txXfrm>
    </dsp:sp>
    <dsp:sp modelId="{CD7CBC92-B28A-416F-8CA1-793FD772B2C6}">
      <dsp:nvSpPr>
        <dsp:cNvPr id="0" name=""/>
        <dsp:cNvSpPr/>
      </dsp:nvSpPr>
      <dsp:spPr>
        <a:xfrm>
          <a:off x="9259673" y="2784482"/>
          <a:ext cx="761250" cy="761250"/>
        </a:xfrm>
        <a:prstGeom prst="ellipse">
          <a:avLst/>
        </a:prstGeom>
        <a:blipFill rotWithShape="1">
          <a:blip xmlns:r="http://schemas.openxmlformats.org/officeDocument/2006/relationships" r:embed="rId3"/>
          <a:srcRect/>
          <a:stretch>
            <a:fillRect/>
          </a:stretch>
        </a:blip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190651-0C80-449F-9CD5-0E7E2B85D186}">
      <dsp:nvSpPr>
        <dsp:cNvPr id="0" name=""/>
        <dsp:cNvSpPr/>
      </dsp:nvSpPr>
      <dsp:spPr>
        <a:xfrm>
          <a:off x="43" y="66781"/>
          <a:ext cx="3226516" cy="3917911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Taxing distric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Operation, Maintenance and improvement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Land-secured financing 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No uniformity requir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Great flexibility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Various rates, methods, and exemptions allowed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100" kern="1200" dirty="0"/>
        </a:p>
      </dsp:txBody>
      <dsp:txXfrm>
        <a:off x="75644" y="142382"/>
        <a:ext cx="3075314" cy="3842310"/>
      </dsp:txXfrm>
    </dsp:sp>
    <dsp:sp modelId="{8587CA4C-8BFA-4C5E-8127-0898D091276B}">
      <dsp:nvSpPr>
        <dsp:cNvPr id="0" name=""/>
        <dsp:cNvSpPr/>
      </dsp:nvSpPr>
      <dsp:spPr>
        <a:xfrm>
          <a:off x="120669" y="2840916"/>
          <a:ext cx="2985265" cy="701053"/>
        </a:xfrm>
        <a:prstGeom prst="rect">
          <a:avLst/>
        </a:prstGeom>
        <a:solidFill>
          <a:srgbClr val="005837">
            <a:alpha val="15000"/>
          </a:srgb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0" rIns="46990" bIns="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>
              <a:solidFill>
                <a:schemeClr val="tx1"/>
              </a:solidFill>
            </a:rPr>
            <a:t>Financial</a:t>
          </a:r>
        </a:p>
      </dsp:txBody>
      <dsp:txXfrm>
        <a:off x="120669" y="2840916"/>
        <a:ext cx="2102299" cy="701053"/>
      </dsp:txXfrm>
    </dsp:sp>
    <dsp:sp modelId="{E260ADB4-5D1B-4F2B-90B2-E23F792116A9}">
      <dsp:nvSpPr>
        <dsp:cNvPr id="0" name=""/>
        <dsp:cNvSpPr/>
      </dsp:nvSpPr>
      <dsp:spPr>
        <a:xfrm>
          <a:off x="2311445" y="2805151"/>
          <a:ext cx="764422" cy="764422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27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3E9761-C771-4580-A191-3B2F900C0359}">
      <dsp:nvSpPr>
        <dsp:cNvPr id="0" name=""/>
        <dsp:cNvSpPr/>
      </dsp:nvSpPr>
      <dsp:spPr>
        <a:xfrm>
          <a:off x="3415941" y="66781"/>
          <a:ext cx="3226516" cy="3917911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Govt. Code § 53311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No uniformity requir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CFD Formation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Tax lien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Minimal legal involvemen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Low risk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</dsp:txBody>
      <dsp:txXfrm>
        <a:off x="3491542" y="142382"/>
        <a:ext cx="3075314" cy="3842310"/>
      </dsp:txXfrm>
    </dsp:sp>
    <dsp:sp modelId="{47707A2C-44EC-4031-B4D3-9C342E5DC270}">
      <dsp:nvSpPr>
        <dsp:cNvPr id="0" name=""/>
        <dsp:cNvSpPr/>
      </dsp:nvSpPr>
      <dsp:spPr>
        <a:xfrm>
          <a:off x="3473415" y="2840916"/>
          <a:ext cx="3111569" cy="701053"/>
        </a:xfrm>
        <a:prstGeom prst="rect">
          <a:avLst/>
        </a:prstGeom>
        <a:solidFill>
          <a:srgbClr val="005837">
            <a:alpha val="15000"/>
          </a:srgb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0" rIns="46990" bIns="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>
              <a:solidFill>
                <a:schemeClr val="tx1"/>
              </a:solidFill>
            </a:rPr>
            <a:t>Legal 	</a:t>
          </a:r>
        </a:p>
      </dsp:txBody>
      <dsp:txXfrm>
        <a:off x="3473415" y="2840916"/>
        <a:ext cx="2191246" cy="701053"/>
      </dsp:txXfrm>
    </dsp:sp>
    <dsp:sp modelId="{D4FC4B7B-35B2-4DCF-AEB0-78B511F5BA8E}">
      <dsp:nvSpPr>
        <dsp:cNvPr id="0" name=""/>
        <dsp:cNvSpPr/>
      </dsp:nvSpPr>
      <dsp:spPr>
        <a:xfrm>
          <a:off x="5765120" y="2804860"/>
          <a:ext cx="764422" cy="764422"/>
        </a:xfrm>
        <a:prstGeom prst="ellipse">
          <a:avLst/>
        </a:prstGeom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16E620-02D1-4762-AA49-8E34062DAD0E}">
      <dsp:nvSpPr>
        <dsp:cNvPr id="0" name=""/>
        <dsp:cNvSpPr/>
      </dsp:nvSpPr>
      <dsp:spPr>
        <a:xfrm>
          <a:off x="6831839" y="81006"/>
          <a:ext cx="3226516" cy="3889461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Participating registered voter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Various boundarie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2/3rds support threshold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Polling place OR 30-Day Mailed Ballo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2000" kern="1200" dirty="0"/>
        </a:p>
      </dsp:txBody>
      <dsp:txXfrm>
        <a:off x="6907440" y="156607"/>
        <a:ext cx="3075314" cy="3813860"/>
      </dsp:txXfrm>
    </dsp:sp>
    <dsp:sp modelId="{DD7AE484-8290-41F8-9DE9-29DAED3E563D}">
      <dsp:nvSpPr>
        <dsp:cNvPr id="0" name=""/>
        <dsp:cNvSpPr/>
      </dsp:nvSpPr>
      <dsp:spPr>
        <a:xfrm>
          <a:off x="6902428" y="2840916"/>
          <a:ext cx="3085339" cy="701053"/>
        </a:xfrm>
        <a:prstGeom prst="rect">
          <a:avLst/>
        </a:prstGeom>
        <a:solidFill>
          <a:srgbClr val="005837">
            <a:alpha val="15000"/>
          </a:srgbClr>
        </a:solidFill>
        <a:ln w="15875" cap="flat" cmpd="sng" algn="ctr">
          <a:solidFill>
            <a:srgbClr val="005837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0" rIns="46990" bIns="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>
              <a:solidFill>
                <a:schemeClr val="tx1"/>
              </a:solidFill>
            </a:rPr>
            <a:t>Political</a:t>
          </a:r>
        </a:p>
      </dsp:txBody>
      <dsp:txXfrm>
        <a:off x="6902428" y="2840916"/>
        <a:ext cx="2172773" cy="701053"/>
      </dsp:txXfrm>
    </dsp:sp>
    <dsp:sp modelId="{CD7CBC92-B28A-416F-8CA1-793FD772B2C6}">
      <dsp:nvSpPr>
        <dsp:cNvPr id="0" name=""/>
        <dsp:cNvSpPr/>
      </dsp:nvSpPr>
      <dsp:spPr>
        <a:xfrm>
          <a:off x="9162565" y="2757229"/>
          <a:ext cx="764422" cy="764422"/>
        </a:xfrm>
        <a:prstGeom prst="ellipse">
          <a:avLst/>
        </a:prstGeom>
        <a:blipFill rotWithShape="1">
          <a:blip xmlns:r="http://schemas.openxmlformats.org/officeDocument/2006/relationships" r:embed="rId3"/>
          <a:srcRect/>
          <a:stretch>
            <a:fillRect/>
          </a:stretch>
        </a:blip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5/layout/IconCircleLabelList">
  <dgm:title val="Icon Circle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617220"/>
          </a:xfrm>
          <a:prstGeom prst="rect">
            <a:avLst/>
          </a:prstGeom>
        </p:spPr>
        <p:txBody>
          <a:bodyPr vert="horz" lIns="112334" tIns="56167" rIns="112334" bIns="56167" rtlCol="0"/>
          <a:lstStyle>
            <a:lvl1pPr algn="l">
              <a:defRPr sz="1500"/>
            </a:lvl1pPr>
          </a:lstStyle>
          <a:p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617220"/>
          </a:xfrm>
          <a:prstGeom prst="rect">
            <a:avLst/>
          </a:prstGeom>
        </p:spPr>
        <p:txBody>
          <a:bodyPr vert="horz" lIns="112334" tIns="56167" rIns="112334" bIns="56167" rtlCol="0"/>
          <a:lstStyle>
            <a:lvl1pPr algn="r">
              <a:defRPr sz="1500"/>
            </a:lvl1pPr>
          </a:lstStyle>
          <a:p>
            <a:fld id="{BEA74EB7-856E-45FD-83F0-5F7C6F3E4372}" type="datetimeFigureOut">
              <a:rPr lang="en-US"/>
              <a:t>7/16/2025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11725038"/>
            <a:ext cx="3169920" cy="617220"/>
          </a:xfrm>
          <a:prstGeom prst="rect">
            <a:avLst/>
          </a:prstGeom>
        </p:spPr>
        <p:txBody>
          <a:bodyPr vert="horz" lIns="112334" tIns="56167" rIns="112334" bIns="56167" rtlCol="0" anchor="b"/>
          <a:lstStyle>
            <a:lvl1pPr algn="l">
              <a:defRPr sz="1500"/>
            </a:lvl1pPr>
          </a:lstStyle>
          <a:p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11725038"/>
            <a:ext cx="3169920" cy="617220"/>
          </a:xfrm>
          <a:prstGeom prst="rect">
            <a:avLst/>
          </a:prstGeom>
        </p:spPr>
        <p:txBody>
          <a:bodyPr vert="horz" lIns="112334" tIns="56167" rIns="112334" bIns="56167" rtlCol="0" anchor="b"/>
          <a:lstStyle>
            <a:lvl1pPr algn="r">
              <a:defRPr sz="1500"/>
            </a:lvl1pPr>
          </a:lstStyle>
          <a:p>
            <a:fld id="{14886E15-F82A-4596-A46C-375C6D3981E1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83081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9-06-18T22:10:31.616"/>
    </inkml:context>
    <inkml:brush xml:id="br0">
      <inkml:brushProperty name="width" value="0.35" units="cm"/>
      <inkml:brushProperty name="height" value="0.35" units="cm"/>
      <inkml:brushProperty name="color" value="#FFFFFF"/>
      <inkml:brushProperty name="ignorePressure" value="1"/>
    </inkml:brush>
  </inkml:definitions>
  <inkml:trace contextRef="#ctx0" brushRef="#br0">744 3635,'41'1,"154"-3,21-9,245-5,-238 13,69-16,-1-24,-243 34,44-14,-7 1,345-67,-420 87,1 0,-1-1,0 0,0-1,-1 1,1-1,2-3,-9 6,-1-1,1 0,-1 0,1 1,-2-2,2 1,-1 0,-1-1,1 1,0-1,-1 1,1-1,0 1,-1-1,-1 0,1 0,0 1,0-2,0 2,0-2,-1 1,0 1,0-2,0 2,0-2,-1 2,1-2,-4-16,0 1,-2-1,-3-9,3 11,0-2,1 1,-2-20,2-59,7-83,1 51,-3 74,4-1,1 1,4-6,1-23,-4 0,-3 0,-7-43,2-4,19-212,-11 275,5-227,-13-18,0 65,4 128,-1 9,-5-31,3 139,1 0,0 1,-1-2,0 2,0-1,0 0,0 0,-1 1,0 0,0-1,0 1,0-1,0 1,-1 0,1 0,-1 0,1 0,-2 1,2-1,-2 1,1-1,-1 1,-8-3,0-1,0 2,0-1,0 2,-1 0,-1 0,-23-6,-260-67,235 64,-1 3,1 3,-57 2,25 3,22 0,-29 5,96-4,0 0,-1 1,1 0,0 1,0-1,0 0,0 1,0 0,0 0,1 1,-1-1,1 1,0 0,-1 0,1 0,1 1,-1 0,0-1,1 1,0 0,0 1,-2 2,1 3,0 0,0 0,2 1,-1-1,1 1,0-1,1 1,0 0,0 0,2 4,3 282,-1-292,3-12,4-15,15-124,12-85,-35 224,-1 1,0 0,0-1,-1 0,1 1,-2-1,1 0,-1 0,1 1,-1-1,-1 1,0-1,0 1,-1 1,2 0,-2 1,0 0,0 0,0-1,0 2,0 0,-1-1,0 0,0 2,1-2,-1 2,-1-1,1 1,-1-1,1 1,-4-2,-1 1,0 0,0 0,0 1,-8-1,9 4,13 4,14 4,55 15,0-5,16 0,80 22,-81-18,1-4,27-1,-37-11,1-3,55-7,-9 0,-98 3,-20-1,1 0,-1 1,1 0,0 1,0 0,-1 1,8 2,-17-4,0 0,1 0,-1 0,0 0,0 0,0 0,0 0,0 0,1 0,-1 0,0 0,0 0,0 0,0 0,0 0,0 0,0 0,0 0,0 0,0 0,0 1,0-1,0 0,0 0,0 0,1 0,-1 0,0 0,0 1,0-1,0 0,0 0,0 0,0 0,0 1,0-1,0 0,0 0,0 0,0 0,0 0,0 1,0-1,0 0,0 0,0 0,0 0,-1 0,1 1,0-1,0 0,0 0,0 0,0 0,0 0,0 0,0 0,0 0,0 0,0 0,0 0,0 0,-13 6,-16 2,-722 124,484-101,-225-2,465-29,6-1,-1 1,0 1,1 0,-1 3,1-1,0 2,-13 5,33-10,1 0,-1 0,0 0,1 0,-1 0,0 1,0-1,0 1,1-1,0 1,-1-1,1 1,-1-1,0 1,1-1,-1 0,1 1,-1 0,1-1,0 1,0 0,-1 0,1-1,-1 1,13 8,34-1,163 4,135-13,-151-1,426 0,-607 2,-1 1,1 0,-1 0,0 1,0 0,0 1,0 0,3 2,-14-5,0 0,0 0,0 0,0 0,0 0,0 0,0 0,0 0,0 0,0 0,0 0,1 0,-1 0,0 0,0 0,0 0,0 0,0 0,0 0,0 0,1 0,-1 1,0-1,0 0,0 0,0 0,0 0,0 0,0 0,0 0,0 0,0 1,0-1,0 0,0 0,0 0,0 0,0 0,0 0,0 0,0 1,0-1,0 0,0 0,0 0,0 0,0 0,0 0,0 1,0-1,0 0,0 0,0 0,0 0,0 0,0 0,0 0,0 0,0 1,0-1,-1 0,1 0,0 0,0 0,0 0,0 0,-11 3,-22 1,31-4,-500 69,177-20,276-42,0 1,-44 14,79-18,-1 2,1-1,-1 2,1 0,1 1,-1 0,2 1,-1 0,1 1,0 0,1 2,8-9,1-2,0 2,0-1,0 1,1-1,-1 1,0 0,2 0,-2-1,1 2,0-2,0 2,1-1,0 0,-1 0,1-1,-1 2,1 0,1-1,0-1,-1 0,0 0,1 1,0-2,1 2,-1 0,-1-2,2 1,0 0,-1 0,0 0,1-1,0 1,-1 0,1-1,1 1,-2-1,2 1,-2-1,2 0,-1 0,0 0,1 0,18 5,0 0,1-1,-1-1,1-2,0 1,0-2,0-1,10-2,8 2,966-6,-1009 6,0 0,-1 0,2-1,-2 1,1-1,0 1,0-1,0 0,0-1,1 1,-1 0,0-1,0 0,1 1,-1-1,1 0,0 0,-1 0,0-2,-1-1,0 0,0-1,1 0,0 0,0 0,0 0,2 0,-2 0,1-4,-2-11,0 1,2-1,1 1,1-1,1-18,0 26,2-2,-1 2,2-1,-1 1,2 0,0-1,2-2,-6 15,-1 0,1 1,-1 0,0-1,0 0,1 0,-1 0,0 0,0 1,1-1,-1 0,0 0,0 0,0 0,0 0,0 1,0-1,0 0,0 0,-1 0,1 0,0 1,-1-1,1 0,0 1,0-1,0 0,-1 0,1 1,-1-1,0 1,1-1,-1 0,0 0,1 1,0-1,-1 1,0-1,0 1,0 0,0 0,1-1,-1 1,0 0,0 0,0-1,1 1,-2 0,-6-1,0-1,0 2,0 0,0 0,-2 1,-4 0,-51 3,0 4,0 2,-21 9,26-8,14-1,0 0,1 2,0 3,1 1,0 3,-9 7,47-22,0 1,-1 0,1 1,1 0,-1 0,1 0,0 0,1 1,0-1,0 2,0-1,1 0,-1 1,2-1,-1 1,2-1,-1 1,0 0,1 0,1 0,-1 1,0 9,1 1,0-1,2 1,0-1,1 1,0-1,2 0,4 9,0-3,2-2,1 0,0 0,2-1,0-1,1 1,2-3,0 1,0-2,2 0,9 6,23 16,3-2,1-4,45 22,-46-30,-37-18,0 0,-1 2,0 0,0 1,8 8,-21-16,0 1,0 0,-1 1,1-1,0 0,-2 1,2-1,-2 1,1 0,0 0,-1 0,0 0,1 0,-1 0,-1 0,1 0,-1 1,0-1,0-1,0 1,0 1,-1 1,-3 12,0-1,0 0,-1-1,-7 13,7-14,-33 76,-4-1,-3-2,-15 13,47-86,13-15,0 0,0 0,0-1,0 1,0 0,-1 0,1 0,0 0,0 0,-1-1,1 1,0 0,0 0,0 0,-1-1,1 1,0 0,0 0,0 0,0 0,0 0,-1-1,1 1,0 0,0 0,0-1,0 1,0 0,0-1,0 1,0 0,0 0,0-1,0 1,0 0,0-1,1 1,-1 0,0 0,8-43,36-79,99-295,-30 23,-89 289,-3-2,2-83,-23 176,-4 13,-15 22,-76 119,-63 130,130-221,-40 74,-29 78,76-149,1 1,3 0,3 1,1 1,0 26,19-116,1 2,9-20,7-40,1-52,-7 0,-6-1,-6 0,-7-13,-1 142,-2 21,-7 31,-17 98,5 2,-4 122,6 269,21-495,10 642,-8-629,2 50,3 0,5-1,21 86,-30-169,1 0,0 0,0 0,2-1,0 1,6 2,-1-15,5-26,-1-18,-1 0,-3-1,-1-9,5-24,14-86,-7 0,-7-3,-8-18,-7 135,-3 1,-2-1,-2 0,-3 1,-2-3,-87-253,55 178,-89-241,122 317,-1-5,13 59,0-1,0 1,0-1,0 1,0 0,0-1,-1 1,1-1,0 1,0-1,-1 1,1-1,0 1,-1-1,1 1,0-1,-1 1,1 0,0 0,0 0,-1-1,1 1,-1 0,1-1,-1 1,1 0,-1 0,1-1,-1 1,1 0,0 0,-1 0,1 0,-1 0,1 0,-1 0,-12 15,-2 32,-17 139,8 1,4 102,23-156,6 0,11 34,7 79,-11-105,22 76,-12-75,-16-59,-4 2,-3-1,-6 29,2-14,-1-72,-1 1,-2-2,0 1,-1-1,-2 1,-1-1,-1-1,-1 0,-2 0,0-2,-11 16,21-33,-1-1,-1 1,1-1,0 0,-1-1,0 1,0-1,0 0,-1 0,1-1,-1 1,0-1,-1-1,1 1,-3 0,1 0,-1-1,1-2,-1 1,0 0,1-1,-1 0,0-1,1 0,-1 0,-7-3,-16-6,0-2,1-1,0-1,2-2,-18-12,25 14,-122-74,-67-59,200 139,0 1,0 1,0 0,0 0,-1 1,-1 0,1 2,0-2,-1 3,-5-2,-17 1,1 1,-1 2,-9 2,44-2,-494 4,351-5,576-21,-186 5,146 0,218-13,-372 23,-214 2,-25 5,0 0,0 0,0 0,0-1,1 1,-1 0,0 0,0 0,0 0,0-1,0 1,0 0,0 0,0 0,0 0,0-1,0 1,0 0,0 0,0 0,0 0,0 0,0 0,0 0,0 0,0 0,0-1,0 1,0 0,-1 0,1 0,0 0,0-1,0 1,0 0,0 0,0 0,-1 0,1 0,0 0,0 0,0-1,0 1,-1 0,1 0,0 0,0 0,0 0,0 0,-1 0,1 0,0 0,0 0,0 0,-1 0,1 0,0 0,0 0,0 0,0 0,-6-2,0 2,-1-1,1 0,-1 0,2 1,-2 0,-2 0,-113 15,-1 5,0 6,-59 11,-210 22,-28-15,-401 10,548-43,271-12,5 0,16-3,30-5,228-37,101-16,-225 44,78 2,573 14,-391 5,-408-3,4 0,1 0,-1 0,0-1,0 1,1-2,-1 0,-1 1,7-5,-15 6,1 0,-1 0,1 0,-1 0,1 0,0-1,-1 1,1-1,-1 1,1-1,-1 1,0-1,1 0,-1 1,1 0,-1 0,0-1,1 0,-1 0,0 1,1-1,-1 0,0 1,0 0,0-1,0 0,0 0,1 1,-1-1,-1 0,1 0,0 1,0 0,0-1,0 0,0 0,-1 1,1-1,0 0,-1 1,1 0,-1-1,1 1,0-1,-1 0,1 1,0-1,-1 1,1-1,-1 1,1 0,-2 0,-29-23,-1 10,0 1,0 2,-1 1,0 2,-1 1,-15 1,-69-16,-357-76,450 93,15 3,1 0,-1-1,1 0,-1-1,0 1,1-2,-6-3,14 4,7 1,31-3,0 3,1 0,35 5,-2-2,1164 1,-1220 1,-23 6,-37 14,29-16,-74 35,-112 62,114-56,-36 13,0 1,105-50,19-12,0 0,0 1,0-1,0 0,0 0,0 1,0-1,0 0,1 0,-1 1,0-1,0 0,0 0,1 1,-1-1,0 0,0 0,1 0,-1 0,0 0,0 0,1 0,-1 0,0 0,0 0,1 0,-1 0,0 0,0 1,0-1,0 0,1 0,-1 0,0 0,0 0,1-1,-1 1,0 0,1 0,-1 0,50-1,516-63,-426 46,-4 8,-95 9,0-2,-1-1,0-3,0-1,5-3,-44 10,0 1,0 0,1 0,-1 0,0-1,0 1,0-1,1 1,-2-1,1 0,0 0,0 1,1-1,-2 0,1 0,0 0,0 0,-1 1,1-2,-1 2,0-1,0 0,0 1,-1-1,1 0,0 1,-1 0,1 0,0-1,-1 1,1-1,-1 1,1-1,0 1,0-1,-1 1,1 0,-1-1,0 1,1 0,-1 0,0 0,1 0,0 0,0 0,-2 0,-45-10,-81 3,-88 9,58 1,-696-3,849 0,0 0,0 0,0 1,0 0,0-1,0 2,-1 0,-2 0,7-1,0 0,0-1,0 1,0 0,0-1,0 0,0 1,1 0,-1 0,1 0,-1 0,0-1,0 1,1 0,-1 0,1 0,0 1,-1-2,1 1,0 0,-1 0,1 1,0-2,0 1,0 1,0-1,0 0,0-1,0 2,0-1,1 0,-1 0,0 0,1 0,-1 0,0 0,0 0,1 0,0 0,-1 0,1 0,0 0,0 0,-1-1,5 6,-1 0,1 0,0-1,1 1,-1-1,1-1,0 1,0 0,0-2,1 1,73 34,-39-20,-10-6,-1-2,1 0,1-2,0-1,0-1,1-3,-1 0,1-2,-1-2,1 0,3-3,-25 4,2-2,0-1,-1 1,0-2,6-1,-13 3,-1-1,1 2,-1-2,1 1,-1-2,1 2,-1-2,-1 1,1 0,0-2,-1 2,1-1,-1 0,0-1,-2 4,0-1,0 1,-1 0,1 0,-1 0,1 0,-1-1,0 2,0-1,0-1,0 1,0-1,0 2,0-1,0-1,0 1,0 0,0 0,0 0,0-1,-1 1,1 1,-1-2,1 1,-1 0,0 0,0 0,0 0,1 0,0 0,-1 0,0 0,0 1,-1-1,2 0,-1 1,0-1,0 0,-1 0,2 1,-1 0,-1 0,1 0,0-1,0 1,-1 0,-9-5,-1 3,0-1,0 1,-8-1,11 3,-129-20,7 0,0 6,-92 4,202 10,15 1,0-1,0 0,-1 0,1 0,0-1,0 1,0-1,0-1,-3 0,9 2,-1-1,0 1,0-1,0 0,0 1,1-1,-1 0,1 1,0-1,-1 1,0-1,1 0,-1 1,1-1,-1 0,1 0,0 1,-1-1,1 0,0 0,0 0,0 0,0 1,0-1,0 0,0 0,0 0,0 0,0 1,0-1,0 0,0 0,1-1,14-31,-10 24,48-89,38-52,18-28,-105 172,0-2,0 1,1 0,-1 0,1 0,1 1,0-1,-4 5,-1 0,2 1,-2 0,1-1,1 1,-2 0,2 0,-1 0,0 0,0 0,0 1,1-1,-2 1,2 0,0 0,-1 0,0 0,0 0,1 0,-1 0,0 0,0 1,1-1,-1 1,36 12,-1 1,34 18,-35-14,1-2,1-2,11 2,2-7,1-2,-1-2,1-2,0-3,18-3,25 1,-87 2,0 0,1 0,-1-2,1 1,-1-1,0 1,0-2,0 0,-4 2,0-2,-1 2,0-1,0 0,1-1,-2 0,2 1,-2-1,1 1,-1-1,1-1,-1 2,0-2,0 1,0 0,0-2,-1 2,1-3,4-13,-2-1,0 0,-1 0,-1 1,-2-2,1-2,0-7,1 0,3-9,6-49,-4 0,-4-1,-6-55,1 9,1 30,-1-1,7-14,9 6,-7 67,-1 0,-3 0,0 5,2 1,10-33,-10 48,8-30,-7 37,-2-2,0 2,1-20,-6-112,-1 89,5-59,-2 112,0-1,1 1,0-1,1 1,-1 0,2 0,-1 0,3-3,-6 13,1 0,0 0,0 0,-1 0,0-1,0 1,1 0,-1 0,1 0,-1 0,1-1,-1 1,0 0,0 1,0-1,0 0,0-1,0 1,0 0,0 1,4 249,-6-140,13 88,55 320,-58-453,22 88,-16-84,6 66,-15-32,-7 28,1-33,1-92,0 0,-1-1,0 1,1 0,-2-1,0 1,1-1,-2 0,0 1,1-1,-1 0,-4 5,0-2,0-2,1 2,-2-2,1 0,-2 0,1 0,-8 4,-160 116,119-100,46-22,1-1,-1 1,1 1,1 0,-1 0,0 2,-15 11,1-2,-9 4,16-1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9-06-18T22:11:21.428"/>
    </inkml:context>
    <inkml:brush xml:id="br0">
      <inkml:brushProperty name="width" value="0.35" units="cm"/>
      <inkml:brushProperty name="height" value="0.35" units="cm"/>
      <inkml:brushProperty name="color" value="#FFFFFF"/>
      <inkml:brushProperty name="ignorePressure" value="1"/>
    </inkml:brush>
  </inkml:definitions>
  <inkml:trace contextRef="#ctx0" brushRef="#br0">1041 0,'0'545,"-2"-517,0-1,-2 1,-4 11,1-7,3 1,0 1,1 3,-3-1,-4 9,-2 20,-2-4,9-41,1 0,0 1,1 10,1-4,-2 1,0 0,-1-1,-2 1,0-1,-7 10,9-20,0 0,1 1,0 0,1-1,2 2,0 3,3 114,0-53,-3 18,0-17,4 28,-3-108,1-1,-1 1,1-1,-1 0,0 0,1 0,0 1,1-2,-1 1,0 0,1 1,-1-4,-1 0,0 0,0 1,1-1,-1 0,0 0,0 0,1 0,-1 1,0-1,0 0,0 0,0 0,0 0,1 0,-1 0,0 0,1 0,-1 0,0 0,1 0,-1 0,0 0,1 0,-1 0,0 0,1 0,-1 0,0 0,0 0,0-1,0 1,0 0,1 0,-1 0,0-1,0 1,1 0,12-21,-7 1,0-1,-1-1,0 1,-2-1,0 0,-3 0,0-15,1 4,2 1,0 0,2-3,3-6,-2 0,-2-1,-2-34,-1 144,1 46,-7 30,-9-54,7-58,3 0,-1 10,5 80,1-58,-3 14,-1-63,1-1,-2 1,0-2,-1 1,0 0,-1-1,-1 3,1 0,1 0,0 1,0 9,-12 98,7 0,3 48,6-152,-1-15,2 0,-1 0,1 1,0-1,0 0,0 0,1 0,0 0,0 0,1-1,-1 1,1 0,1 2,-3-7,0 1,1 0,-1-1,1 1,0-1,-1 0,1 0,0 1,-1-1,0 0,1 1,0-1,0 0,0 0,-1 1,1-1,-1 0,1 0,0 0,0 0,-1 0,1 0,0 0,0 0,-1-1,1 1,-1 0,2-1,14-15,5-30,-21 45,19-66,-15 47,2 2,-1-1,2 1,6-12,28-74,-41 103,0 1,1-1,-1 0,0 1,0 0,1-1,-1 1,0-1,1 1,-1-1,0 0,0 1,0-1,1 1,-1 0,1 0,-1-1,1 1,-1 0,1-1,0 1,-1 0,0-1,0 1,1 0,0 0,-1 0,1-1,0 1,-1 0,1 0,-1 0,9 16,-4 29,-5-38,0-2,0 1,-1 0,1 1,-2-1,2 0,-2 0,0 0,1-1,-2 1,0-1,1 1,-1-1,-1 0,1 0,0 0,-5 5,5-8,-1 2,0-1,0-1,0 1,-1 0,1-2,0 2,0-2,-1 1,0 0,0-1,1-1,-1 1,0 0,1 0,-1-1,0 0,0 0,1-1,-1 0,-1 0,2 1,-2-2,-6-1,-2-2,2 1,-1-2,0 0,2 1,-1-2,0-1,1 1,0-2,1 0,-9-10,-9-12,1-2,2 1,-4-10,6 8,-18-28,-13-33,-5-8,-45-84,8-3,-13-57,7-9,91 222,1-1,2 0,1-1,2 0,0-27,5 53,-2-18,1 1,3-15,-2 34,1 0,-1 2,2-2,0 1,-1 1,2-1,-1 0,1 0,0 1,1-1,0 1,0-2,2 4,-1-1,1 1,1 0,-1 0,-1 1,2 0,0 0,0 0,-1 1,2 0,-1 0,-1 1,2-1,3 2,1-2,0-1,-1 0,0 0,6-4,-10 4,-1-1,0 0,0 0,-1 0,0-2,1 1,-1 0,-1 0,0-1,0 1,0-1,0 0,-1 0,0-1,0 0,0 1,-1-1,0 0,-1 0,1 1,-1-2,0 1,0-2,-1-14,0 0,0 0,-2 0,-1 1,-2-1,-3-15,1 10,1 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617220"/>
          </a:xfrm>
          <a:prstGeom prst="rect">
            <a:avLst/>
          </a:prstGeom>
        </p:spPr>
        <p:txBody>
          <a:bodyPr vert="horz" lIns="112334" tIns="56167" rIns="112334" bIns="56167" rtlCol="0"/>
          <a:lstStyle>
            <a:lvl1pPr algn="l">
              <a:defRPr sz="1500"/>
            </a:lvl1pPr>
          </a:lstStyle>
          <a:p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617220"/>
          </a:xfrm>
          <a:prstGeom prst="rect">
            <a:avLst/>
          </a:prstGeom>
        </p:spPr>
        <p:txBody>
          <a:bodyPr vert="horz" lIns="112334" tIns="56167" rIns="112334" bIns="56167" rtlCol="0"/>
          <a:lstStyle>
            <a:lvl1pPr algn="r">
              <a:defRPr sz="1500"/>
            </a:lvl1pPr>
          </a:lstStyle>
          <a:p>
            <a:fld id="{C61B0E40-8125-41F8-BB6C-139D8D531A4F}" type="datetimeFigureOut">
              <a:rPr lang="en-US"/>
              <a:t>7/16/2025</a:t>
            </a:fld>
            <a:endParaRPr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457200" y="925513"/>
            <a:ext cx="8229600" cy="4629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12334" tIns="56167" rIns="112334" bIns="56167" rtlCol="0" anchor="ctr"/>
          <a:lstStyle/>
          <a:p>
            <a:endParaRPr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5863590"/>
            <a:ext cx="5852160" cy="5554980"/>
          </a:xfrm>
          <a:prstGeom prst="rect">
            <a:avLst/>
          </a:prstGeom>
        </p:spPr>
        <p:txBody>
          <a:bodyPr vert="horz" lIns="112334" tIns="56167" rIns="112334" bIns="56167" rtlCol="0"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1725038"/>
            <a:ext cx="3169920" cy="617220"/>
          </a:xfrm>
          <a:prstGeom prst="rect">
            <a:avLst/>
          </a:prstGeom>
        </p:spPr>
        <p:txBody>
          <a:bodyPr vert="horz" lIns="112334" tIns="56167" rIns="112334" bIns="56167" rtlCol="0" anchor="b"/>
          <a:lstStyle>
            <a:lvl1pPr algn="l">
              <a:defRPr sz="1500"/>
            </a:lvl1pPr>
          </a:lstStyle>
          <a:p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11725038"/>
            <a:ext cx="3169920" cy="617220"/>
          </a:xfrm>
          <a:prstGeom prst="rect">
            <a:avLst/>
          </a:prstGeom>
        </p:spPr>
        <p:txBody>
          <a:bodyPr vert="horz" lIns="112334" tIns="56167" rIns="112334" bIns="56167" rtlCol="0" anchor="b"/>
          <a:lstStyle>
            <a:lvl1pPr algn="r">
              <a:defRPr sz="1500"/>
            </a:lvl1pPr>
          </a:lstStyle>
          <a:p>
            <a:fld id="{BF105DB2-FD3E-441D-8B7E-7AE83ECE27B3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947205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57200" y="925513"/>
            <a:ext cx="8229600" cy="4629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105DB2-FD3E-441D-8B7E-7AE83ECE27B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2762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B434ACE-027C-405D-ABD8-A41CF50877E5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657667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B434ACE-027C-405D-ABD8-A41CF50877E5}" type="slidenum">
              <a:rPr lang="en-US" altLang="en-US" smtClean="0"/>
              <a:pPr>
                <a:defRPr/>
              </a:pPr>
              <a:t>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144436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B434ACE-027C-405D-ABD8-A41CF50877E5}" type="slidenum">
              <a:rPr lang="en-US" altLang="en-US" smtClean="0"/>
              <a:pPr>
                <a:defRPr/>
              </a:pPr>
              <a:t>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300663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B434ACE-027C-405D-ABD8-A41CF50877E5}" type="slidenum">
              <a:rPr lang="en-US" altLang="en-US" smtClean="0"/>
              <a:pPr>
                <a:defRPr/>
              </a:pPr>
              <a:t>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768677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0319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1/21/2022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/>
              <a:t>Park Impact Fee Program Update Overview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742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1/21/2022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ark Impact Fee Program Update Overview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661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1/21/2022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ark Impact Fee Program Update Overview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949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3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ark Impact Fee Program Update Overview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1/21/2022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06475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1/21/2022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ark Impact Fee Program Update Overview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801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1/21/2022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ark Impact Fee Program Update Overview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0700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8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1/21/2022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ark Impact Fee Program Update Overview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20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1/21/2022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ark Impact Fee Program Update Overview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241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1/21/2022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ark Impact Fee Program Update Overview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553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1/21/2022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Park Impact Fee Program Update Overview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" name="bottom graphic">
            <a:extLst>
              <a:ext uri="{FF2B5EF4-FFF2-40B4-BE49-F238E27FC236}">
                <a16:creationId xmlns:a16="http://schemas.microsoft.com/office/drawing/2014/main" id="{A9C448D2-9818-CE74-A8FA-F73751E3968C}"/>
              </a:ext>
            </a:extLst>
          </p:cNvPr>
          <p:cNvGrpSpPr/>
          <p:nvPr userDrawn="1"/>
        </p:nvGrpSpPr>
        <p:grpSpPr>
          <a:xfrm>
            <a:off x="1" y="6309360"/>
            <a:ext cx="12193406" cy="548640"/>
            <a:chOff x="0" y="6309360"/>
            <a:chExt cx="12190231" cy="54864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79F55D9-114A-CCBA-7837-B512DE28FD5C}"/>
                </a:ext>
              </a:extLst>
            </p:cNvPr>
            <p:cNvSpPr/>
            <p:nvPr/>
          </p:nvSpPr>
          <p:spPr>
            <a:xfrm>
              <a:off x="0" y="6400800"/>
              <a:ext cx="12188825" cy="4572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800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FE7A151-4C92-C727-732F-5BE516982992}"/>
                </a:ext>
              </a:extLst>
            </p:cNvPr>
            <p:cNvSpPr/>
            <p:nvPr/>
          </p:nvSpPr>
          <p:spPr>
            <a:xfrm>
              <a:off x="1279" y="6309360"/>
              <a:ext cx="12188952" cy="9721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800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E11C81E-1650-A4FF-41F0-03AE83EC7A07}"/>
                </a:ext>
              </a:extLst>
            </p:cNvPr>
            <p:cNvSpPr/>
            <p:nvPr/>
          </p:nvSpPr>
          <p:spPr>
            <a:xfrm>
              <a:off x="1279" y="6379143"/>
              <a:ext cx="12188952" cy="274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8872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11/21/2022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ark Impact Fee Program Update Overview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8992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1/21/2022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ark Impact Fee Program Update Overview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112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0000"/>
            <a:shade val="97000"/>
            <a:satMod val="1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cap="small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11/21/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1" cap="small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ark Impact Fee Program Update Overview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cap="small" baseline="0">
                <a:solidFill>
                  <a:srgbClr val="FFFFFF"/>
                </a:solidFill>
              </a:defRPr>
            </a:lvl1pPr>
          </a:lstStyle>
          <a:p>
            <a:fld id="{DF28FB93-0A08-4E7D-8E63-9EFA29F1E09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7281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  <p:sldLayoutId id="214748391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11" Type="http://schemas.openxmlformats.org/officeDocument/2006/relationships/customXml" Target="../ink/ink2.xml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13.png"/><Relationship Id="rId4" Type="http://schemas.openxmlformats.org/officeDocument/2006/relationships/diagramLayout" Target="../diagrams/layout3.xml"/><Relationship Id="rId9" Type="http://schemas.openxmlformats.org/officeDocument/2006/relationships/customXml" Target="../ink/ink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diagramLayout" Target="../diagrams/layout5.xml"/><Relationship Id="rId7" Type="http://schemas.openxmlformats.org/officeDocument/2006/relationships/image" Target="../media/image16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notesSlide" Target="../notesSlides/notesSlide6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21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20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19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36504" y="1313688"/>
            <a:ext cx="7319175" cy="2115312"/>
          </a:xfrm>
        </p:spPr>
        <p:txBody>
          <a:bodyPr>
            <a:normAutofit/>
          </a:bodyPr>
          <a:lstStyle/>
          <a:p>
            <a:r>
              <a:rPr lang="en-US" sz="6600" dirty="0"/>
              <a:t>Local Districtwide Funding Measur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subTitle" idx="1"/>
          </p:nvPr>
        </p:nvSpPr>
        <p:spPr>
          <a:xfrm>
            <a:off x="3836504" y="4455620"/>
            <a:ext cx="7321946" cy="1143000"/>
          </a:xfrm>
        </p:spPr>
        <p:txBody>
          <a:bodyPr>
            <a:normAutofit/>
          </a:bodyPr>
          <a:lstStyle/>
          <a:p>
            <a:r>
              <a:rPr lang="en-US" cap="small" dirty="0"/>
              <a:t>Blair Aas | SCI Consulting Group</a:t>
            </a:r>
          </a:p>
          <a:p>
            <a:endParaRPr lang="en-US" cap="small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3A0856-F6B3-A179-C31F-F22FD8E46B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736" y="1447800"/>
            <a:ext cx="2711013" cy="2358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189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021F91-2E0E-4691-BCE6-C78261AC0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SCI Consulting Grou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87368-5893-4CF0-9513-E73AA7013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CF1FA3E-C52C-4A2C-AE42-F2875C7E2F52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83368705-C862-4CF8-A7BE-3E7AEEE7270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79182837"/>
              </p:ext>
            </p:extLst>
          </p:nvPr>
        </p:nvGraphicFramePr>
        <p:xfrm>
          <a:off x="1219200" y="2133600"/>
          <a:ext cx="9936480" cy="3962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E48A95C-192E-9468-E2B3-9470449B5D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</p:spPr>
        <p:txBody>
          <a:bodyPr/>
          <a:lstStyle/>
          <a:p>
            <a:r>
              <a:rPr lang="en-US" dirty="0"/>
              <a:t>Local Funding Measures for Parks and Recreation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B04A2599-D1B4-4A07-57E0-308B2CE9C60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</p:spPr>
        <p:txBody>
          <a:bodyPr/>
          <a:lstStyle/>
          <a:p>
            <a:r>
              <a:rPr lang="en-US" dirty="0"/>
              <a:t>July 16, 2025</a:t>
            </a:r>
          </a:p>
        </p:txBody>
      </p:sp>
    </p:spTree>
    <p:extLst>
      <p:ext uri="{BB962C8B-B14F-4D97-AF65-F5344CB8AC3E}">
        <p14:creationId xmlns:p14="http://schemas.microsoft.com/office/powerpoint/2010/main" val="342565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CEB84E-6BC3-8759-0365-CCB1F95FC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night’s Present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4CD74C-41C7-8EDE-1D73-56900D1505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July 16, 202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E8D0AA-BC37-8BC0-C274-6FF8C6526A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Local Funding Measures for Parks and Recre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D5FBA5-5B85-D8AF-E98F-98EC857AB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9" name="Content Placeholder 2">
            <a:extLst>
              <a:ext uri="{FF2B5EF4-FFF2-40B4-BE49-F238E27FC236}">
                <a16:creationId xmlns:a16="http://schemas.microsoft.com/office/drawing/2014/main" id="{F72372B1-EA6D-0F79-C168-62E7B9F9005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3232166"/>
              </p:ext>
            </p:extLst>
          </p:nvPr>
        </p:nvGraphicFramePr>
        <p:xfrm>
          <a:off x="1096963" y="1846263"/>
          <a:ext cx="1005840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84166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7" name="Rectangle 26">
            <a:extLst>
              <a:ext uri="{FF2B5EF4-FFF2-40B4-BE49-F238E27FC236}">
                <a16:creationId xmlns:a16="http://schemas.microsoft.com/office/drawing/2014/main" id="{A6B16355-27FB-445B-B646-02AB736374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1" cy="6334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4AB4E4-20F9-4331-8676-C484DE2D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7212" y="634946"/>
            <a:ext cx="3372529" cy="5055904"/>
          </a:xfrm>
        </p:spPr>
        <p:txBody>
          <a:bodyPr anchor="ctr">
            <a:normAutofit/>
          </a:bodyPr>
          <a:lstStyle/>
          <a:p>
            <a:r>
              <a:rPr lang="en-US" sz="4100" dirty="0"/>
              <a:t>The Three Hurdles of Revenue Enhancemen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6DA680F-F6AC-453E-A8BF-C5BDED2851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856978" y="1791298"/>
            <a:ext cx="0" cy="274320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6B3BF2E5-C3AB-441F-A430-491119C56D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D07C90B-B81A-473B-8919-CA924E61FF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8D7C2B-5236-4381-8CE6-7C4215FBBF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12195" y="5054300"/>
            <a:ext cx="1731605" cy="307306"/>
          </a:xfrm>
        </p:spPr>
        <p:txBody>
          <a:bodyPr>
            <a:normAutofit/>
          </a:bodyPr>
          <a:lstStyle/>
          <a:p>
            <a:pPr defTabSz="384048">
              <a:spcAft>
                <a:spcPts val="504"/>
              </a:spcAft>
              <a:defRPr/>
            </a:pPr>
            <a:fld id="{DCF1FA3E-C52C-4A2C-AE42-F2875C7E2F52}" type="slidenum">
              <a:rPr lang="en-US" altLang="en-US" sz="882" kern="1200" cap="small" baseline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defTabSz="384048">
                <a:spcAft>
                  <a:spcPts val="504"/>
                </a:spcAft>
                <a:defRPr/>
              </a:pPr>
              <a:t>4</a:t>
            </a:fld>
            <a:endParaRPr lang="en-US" altLang="en-US"/>
          </a:p>
        </p:txBody>
      </p:sp>
      <p:graphicFrame>
        <p:nvGraphicFramePr>
          <p:cNvPr id="22" name="Content Placeholder 2">
            <a:extLst>
              <a:ext uri="{FF2B5EF4-FFF2-40B4-BE49-F238E27FC236}">
                <a16:creationId xmlns:a16="http://schemas.microsoft.com/office/drawing/2014/main" id="{64364B16-7235-4DB3-85C9-FB47AFB5A9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70300139"/>
              </p:ext>
            </p:extLst>
          </p:nvPr>
        </p:nvGraphicFramePr>
        <p:xfrm>
          <a:off x="1791825" y="2590502"/>
          <a:ext cx="4866131" cy="19881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1DD45825-0E0B-49EC-AC96-FBA778811F5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154" y="977776"/>
            <a:ext cx="1795739" cy="2811677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719D1C3D-8753-461B-A5D5-5D62DDC32FC1}"/>
                  </a:ext>
                </a:extLst>
              </p14:cNvPr>
              <p14:cNvContentPartPr/>
              <p14:nvPr/>
            </p14:nvContentPartPr>
            <p14:xfrm>
              <a:off x="790594" y="2496532"/>
              <a:ext cx="1227425" cy="1333775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719D1C3D-8753-461B-A5D5-5D62DDC32FC1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27585" y="2433533"/>
                <a:ext cx="1353084" cy="1459413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B06C690D-20BA-4D3B-821A-69501FD73F34}"/>
                  </a:ext>
                </a:extLst>
              </p14:cNvPr>
              <p14:cNvContentPartPr/>
              <p14:nvPr/>
            </p14:nvContentPartPr>
            <p14:xfrm>
              <a:off x="1662305" y="2540769"/>
              <a:ext cx="375408" cy="1058658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B06C690D-20BA-4D3B-821A-69501FD73F34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599317" y="2477775"/>
                <a:ext cx="501024" cy="1184286"/>
              </a:xfrm>
              <a:prstGeom prst="rect">
                <a:avLst/>
              </a:prstGeom>
            </p:spPr>
          </p:pic>
        </mc:Fallback>
      </mc:AlternateContent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CF0701BE-ADA8-8D48-2EDA-3C0FA73699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</p:spPr>
        <p:txBody>
          <a:bodyPr/>
          <a:lstStyle/>
          <a:p>
            <a:r>
              <a:rPr lang="en-US" dirty="0"/>
              <a:t>Local Funding Measures for Parks and Recreation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12EA5CD-8173-7F5A-E23A-50C9E17F69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</p:spPr>
        <p:txBody>
          <a:bodyPr/>
          <a:lstStyle/>
          <a:p>
            <a:r>
              <a:rPr lang="en-US" dirty="0"/>
              <a:t>July 16, 2025</a:t>
            </a:r>
          </a:p>
        </p:txBody>
      </p:sp>
    </p:spTree>
    <p:extLst>
      <p:ext uri="{BB962C8B-B14F-4D97-AF65-F5344CB8AC3E}">
        <p14:creationId xmlns:p14="http://schemas.microsoft.com/office/powerpoint/2010/main" val="416385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2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1BEEC-2F16-45CE-AB50-0EAE049175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k Assess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554C88-9721-47D9-8EF7-C642821AC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8F24C95-F2F4-4BE3-BCBC-983BEB1E4229}" type="slidenum">
              <a:rPr lang="en-US" altLang="en-US" smtClean="0"/>
              <a:pPr>
                <a:defRPr/>
              </a:pPr>
              <a:t>5</a:t>
            </a:fld>
            <a:endParaRPr lang="en-US" altLang="en-US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8AD29035-27E2-4CF9-8BDE-961D31A4B8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7505923"/>
              </p:ext>
            </p:extLst>
          </p:nvPr>
        </p:nvGraphicFramePr>
        <p:xfrm>
          <a:off x="1126588" y="2117372"/>
          <a:ext cx="9936480" cy="3962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FAEEFAB-461A-4279-B10B-768FE72CE8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33420" y="5678438"/>
            <a:ext cx="1371719" cy="33530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5098F76-39EE-4A54-8630-F3DABB3C63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65606" y="5690341"/>
            <a:ext cx="1402202" cy="3353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52AB6F-9022-44A9-81E2-ADA0E35F20E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86861" y="5666607"/>
            <a:ext cx="1402202" cy="335309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68622EC-41FA-A4CB-8D6B-01A1C6B3E0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</p:spPr>
        <p:txBody>
          <a:bodyPr/>
          <a:lstStyle/>
          <a:p>
            <a:r>
              <a:rPr lang="en-US" dirty="0"/>
              <a:t>Local Funding Measures for Parks and Recreation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4919535C-12D5-B162-230B-D79B0B9237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</p:spPr>
        <p:txBody>
          <a:bodyPr/>
          <a:lstStyle/>
          <a:p>
            <a:r>
              <a:rPr lang="en-US" dirty="0"/>
              <a:t>July 16, 2025</a:t>
            </a:r>
          </a:p>
        </p:txBody>
      </p:sp>
    </p:spTree>
    <p:extLst>
      <p:ext uri="{BB962C8B-B14F-4D97-AF65-F5344CB8AC3E}">
        <p14:creationId xmlns:p14="http://schemas.microsoft.com/office/powerpoint/2010/main" val="3822062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E09C29-D844-0348-254D-63958DD61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ial Tax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52977-2072-C781-7051-EC55E7CD2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FB93-0A08-4E7D-8E63-9EFA29F1E093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94DC3310-4C9B-69EB-CC30-F7ED8934235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11841977"/>
              </p:ext>
            </p:extLst>
          </p:nvPr>
        </p:nvGraphicFramePr>
        <p:xfrm>
          <a:off x="1097280" y="2087210"/>
          <a:ext cx="1005840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DA897C14-B4E5-0FD6-A34C-2CADE2CAFC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24869" y="5638799"/>
            <a:ext cx="1371719" cy="3353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1D00001-F138-BAA0-5F3A-B875C3612B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40620" y="5638799"/>
            <a:ext cx="1371719" cy="33530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D376111-A7AC-651D-4494-DCE8A60F189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15400" y="5638799"/>
            <a:ext cx="1402202" cy="335309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3493843-FFAC-3E09-FF9A-5F290B8A59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</p:spPr>
        <p:txBody>
          <a:bodyPr/>
          <a:lstStyle/>
          <a:p>
            <a:r>
              <a:rPr lang="en-US" dirty="0"/>
              <a:t>Local Funding Measures for Parks and Recreation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5099C6E6-EDCD-72CE-3449-2877E4E354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</p:spPr>
        <p:txBody>
          <a:bodyPr/>
          <a:lstStyle/>
          <a:p>
            <a:r>
              <a:rPr lang="en-US" dirty="0"/>
              <a:t>July 16, 2025</a:t>
            </a:r>
          </a:p>
        </p:txBody>
      </p:sp>
    </p:spTree>
    <p:extLst>
      <p:ext uri="{BB962C8B-B14F-4D97-AF65-F5344CB8AC3E}">
        <p14:creationId xmlns:p14="http://schemas.microsoft.com/office/powerpoint/2010/main" val="3320868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1BEEC-2F16-45CE-AB50-0EAE049175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FD Special Tax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554C88-9721-47D9-8EF7-C642821AC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8F24C95-F2F4-4BE3-BCBC-983BEB1E4229}" type="slidenum">
              <a:rPr lang="en-US" altLang="en-US" smtClean="0"/>
              <a:pPr>
                <a:defRPr/>
              </a:pPr>
              <a:t>7</a:t>
            </a:fld>
            <a:endParaRPr lang="en-US" altLang="en-US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8AD29035-27E2-4CF9-8BDE-961D31A4B8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6402546"/>
              </p:ext>
            </p:extLst>
          </p:nvPr>
        </p:nvGraphicFramePr>
        <p:xfrm>
          <a:off x="1097280" y="1981200"/>
          <a:ext cx="10058400" cy="40514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FAEEFAB-461A-4279-B10B-768FE72CE8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47326" y="5571756"/>
            <a:ext cx="1371719" cy="33530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5098F76-39EE-4A54-8630-F3DABB3C63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57646" y="5591796"/>
            <a:ext cx="1402202" cy="3353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2D2E0C4-F810-4697-B8EF-209F21FFE76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37006" y="5571756"/>
            <a:ext cx="1371719" cy="335309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EA02B77-15D5-1A75-43A9-6838205DA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</p:spPr>
        <p:txBody>
          <a:bodyPr/>
          <a:lstStyle/>
          <a:p>
            <a:r>
              <a:rPr lang="en-US" dirty="0"/>
              <a:t>Local Funding Measures for Parks and Recreation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003D4B32-AA34-7A49-C7EA-97145ADA43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</p:spPr>
        <p:txBody>
          <a:bodyPr/>
          <a:lstStyle/>
          <a:p>
            <a:r>
              <a:rPr lang="en-US" dirty="0"/>
              <a:t>July 16, 2025</a:t>
            </a:r>
          </a:p>
        </p:txBody>
      </p:sp>
    </p:spTree>
    <p:extLst>
      <p:ext uri="{BB962C8B-B14F-4D97-AF65-F5344CB8AC3E}">
        <p14:creationId xmlns:p14="http://schemas.microsoft.com/office/powerpoint/2010/main" val="101369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FB75F73-4C0E-492B-9A94-9049FC836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540" y="71052"/>
            <a:ext cx="11751120" cy="1325563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Steps to a Successful Funding Measure</a:t>
            </a:r>
            <a:br>
              <a:rPr lang="en-US" dirty="0"/>
            </a:br>
            <a:endParaRPr lang="en-US" sz="2000" dirty="0"/>
          </a:p>
        </p:txBody>
      </p:sp>
      <p:sp>
        <p:nvSpPr>
          <p:cNvPr id="429" name="Freeform: Shape 428">
            <a:extLst>
              <a:ext uri="{FF2B5EF4-FFF2-40B4-BE49-F238E27FC236}">
                <a16:creationId xmlns:a16="http://schemas.microsoft.com/office/drawing/2014/main" id="{3CA3757F-271B-4D31-B5E9-C91DA716058E}"/>
              </a:ext>
            </a:extLst>
          </p:cNvPr>
          <p:cNvSpPr/>
          <p:nvPr/>
        </p:nvSpPr>
        <p:spPr>
          <a:xfrm>
            <a:off x="2282097" y="1570191"/>
            <a:ext cx="7513431" cy="3882381"/>
          </a:xfrm>
          <a:custGeom>
            <a:avLst/>
            <a:gdLst>
              <a:gd name="connsiteX0" fmla="*/ 0 w 8515205"/>
              <a:gd name="connsiteY0" fmla="*/ 0 h 4533348"/>
              <a:gd name="connsiteX1" fmla="*/ 6596885 w 8515205"/>
              <a:gd name="connsiteY1" fmla="*/ 0 h 4533348"/>
              <a:gd name="connsiteX2" fmla="*/ 6596886 w 8515205"/>
              <a:gd name="connsiteY2" fmla="*/ 0 h 4533348"/>
              <a:gd name="connsiteX3" fmla="*/ 6610604 w 8515205"/>
              <a:gd name="connsiteY3" fmla="*/ 0 h 4533348"/>
              <a:gd name="connsiteX4" fmla="*/ 6610604 w 8515205"/>
              <a:gd name="connsiteY4" fmla="*/ 693 h 4533348"/>
              <a:gd name="connsiteX5" fmla="*/ 6719474 w 8515205"/>
              <a:gd name="connsiteY5" fmla="*/ 6190 h 4533348"/>
              <a:gd name="connsiteX6" fmla="*/ 7795869 w 8515205"/>
              <a:gd name="connsiteY6" fmla="*/ 1198984 h 4533348"/>
              <a:gd name="connsiteX7" fmla="*/ 6719474 w 8515205"/>
              <a:gd name="connsiteY7" fmla="*/ 2391778 h 4533348"/>
              <a:gd name="connsiteX8" fmla="*/ 6610603 w 8515205"/>
              <a:gd name="connsiteY8" fmla="*/ 2397275 h 4533348"/>
              <a:gd name="connsiteX9" fmla="*/ 6610603 w 8515205"/>
              <a:gd name="connsiteY9" fmla="*/ 2398726 h 4533348"/>
              <a:gd name="connsiteX10" fmla="*/ 1605528 w 8515205"/>
              <a:gd name="connsiteY10" fmla="*/ 2398726 h 4533348"/>
              <a:gd name="connsiteX11" fmla="*/ 1605528 w 8515205"/>
              <a:gd name="connsiteY11" fmla="*/ 2399037 h 4533348"/>
              <a:gd name="connsiteX12" fmla="*/ 670201 w 8515205"/>
              <a:gd name="connsiteY12" fmla="*/ 3334364 h 4533348"/>
              <a:gd name="connsiteX13" fmla="*/ 1509896 w 8515205"/>
              <a:gd name="connsiteY13" fmla="*/ 4264862 h 4533348"/>
              <a:gd name="connsiteX14" fmla="*/ 1603607 w 8515205"/>
              <a:gd name="connsiteY14" fmla="*/ 4269594 h 4533348"/>
              <a:gd name="connsiteX15" fmla="*/ 8515205 w 8515205"/>
              <a:gd name="connsiteY15" fmla="*/ 4269594 h 4533348"/>
              <a:gd name="connsiteX16" fmla="*/ 8515205 w 8515205"/>
              <a:gd name="connsiteY16" fmla="*/ 4533347 h 4533348"/>
              <a:gd name="connsiteX17" fmla="*/ 1605528 w 8515205"/>
              <a:gd name="connsiteY17" fmla="*/ 4533347 h 4533348"/>
              <a:gd name="connsiteX18" fmla="*/ 1605528 w 8515205"/>
              <a:gd name="connsiteY18" fmla="*/ 4533348 h 4533348"/>
              <a:gd name="connsiteX19" fmla="*/ 1605510 w 8515205"/>
              <a:gd name="connsiteY19" fmla="*/ 4533347 h 4533348"/>
              <a:gd name="connsiteX20" fmla="*/ 1600200 w 8515205"/>
              <a:gd name="connsiteY20" fmla="*/ 4533347 h 4533348"/>
              <a:gd name="connsiteX21" fmla="*/ 1600200 w 8515205"/>
              <a:gd name="connsiteY21" fmla="*/ 4533079 h 4533348"/>
              <a:gd name="connsiteX22" fmla="*/ 1482939 w 8515205"/>
              <a:gd name="connsiteY22" fmla="*/ 4527158 h 4533348"/>
              <a:gd name="connsiteX23" fmla="*/ 406544 w 8515205"/>
              <a:gd name="connsiteY23" fmla="*/ 3334364 h 4533348"/>
              <a:gd name="connsiteX24" fmla="*/ 1482939 w 8515205"/>
              <a:gd name="connsiteY24" fmla="*/ 2141570 h 4533348"/>
              <a:gd name="connsiteX25" fmla="*/ 1600199 w 8515205"/>
              <a:gd name="connsiteY25" fmla="*/ 2135649 h 4533348"/>
              <a:gd name="connsiteX26" fmla="*/ 1600199 w 8515205"/>
              <a:gd name="connsiteY26" fmla="*/ 2135380 h 4533348"/>
              <a:gd name="connsiteX27" fmla="*/ 1605528 w 8515205"/>
              <a:gd name="connsiteY27" fmla="*/ 2135380 h 4533348"/>
              <a:gd name="connsiteX28" fmla="*/ 6596885 w 8515205"/>
              <a:gd name="connsiteY28" fmla="*/ 2135380 h 4533348"/>
              <a:gd name="connsiteX29" fmla="*/ 6596885 w 8515205"/>
              <a:gd name="connsiteY29" fmla="*/ 2134311 h 4533348"/>
              <a:gd name="connsiteX30" fmla="*/ 7532212 w 8515205"/>
              <a:gd name="connsiteY30" fmla="*/ 1198984 h 4533348"/>
              <a:gd name="connsiteX31" fmla="*/ 6596885 w 8515205"/>
              <a:gd name="connsiteY31" fmla="*/ 263657 h 4533348"/>
              <a:gd name="connsiteX32" fmla="*/ 6596885 w 8515205"/>
              <a:gd name="connsiteY32" fmla="*/ 263346 h 4533348"/>
              <a:gd name="connsiteX33" fmla="*/ 0 w 8515205"/>
              <a:gd name="connsiteY33" fmla="*/ 263346 h 4533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8515205" h="4533348">
                <a:moveTo>
                  <a:pt x="0" y="0"/>
                </a:moveTo>
                <a:lnTo>
                  <a:pt x="6596885" y="0"/>
                </a:lnTo>
                <a:lnTo>
                  <a:pt x="6596886" y="0"/>
                </a:lnTo>
                <a:lnTo>
                  <a:pt x="6610604" y="0"/>
                </a:lnTo>
                <a:lnTo>
                  <a:pt x="6610604" y="693"/>
                </a:lnTo>
                <a:lnTo>
                  <a:pt x="6719474" y="6190"/>
                </a:lnTo>
                <a:cubicBezTo>
                  <a:pt x="7324070" y="67590"/>
                  <a:pt x="7795869" y="578189"/>
                  <a:pt x="7795869" y="1198984"/>
                </a:cubicBezTo>
                <a:cubicBezTo>
                  <a:pt x="7795869" y="1819779"/>
                  <a:pt x="7324070" y="2330378"/>
                  <a:pt x="6719474" y="2391778"/>
                </a:cubicBezTo>
                <a:lnTo>
                  <a:pt x="6610603" y="2397275"/>
                </a:lnTo>
                <a:lnTo>
                  <a:pt x="6610603" y="2398726"/>
                </a:lnTo>
                <a:lnTo>
                  <a:pt x="1605528" y="2398726"/>
                </a:lnTo>
                <a:lnTo>
                  <a:pt x="1605528" y="2399037"/>
                </a:lnTo>
                <a:cubicBezTo>
                  <a:pt x="1088961" y="2399037"/>
                  <a:pt x="670201" y="2817797"/>
                  <a:pt x="670201" y="3334364"/>
                </a:cubicBezTo>
                <a:cubicBezTo>
                  <a:pt x="670201" y="3818645"/>
                  <a:pt x="1038252" y="4216964"/>
                  <a:pt x="1509896" y="4264862"/>
                </a:cubicBezTo>
                <a:lnTo>
                  <a:pt x="1603607" y="4269594"/>
                </a:lnTo>
                <a:lnTo>
                  <a:pt x="8515205" y="4269594"/>
                </a:lnTo>
                <a:lnTo>
                  <a:pt x="8515205" y="4533347"/>
                </a:lnTo>
                <a:lnTo>
                  <a:pt x="1605528" y="4533347"/>
                </a:lnTo>
                <a:lnTo>
                  <a:pt x="1605528" y="4533348"/>
                </a:lnTo>
                <a:lnTo>
                  <a:pt x="1605510" y="4533347"/>
                </a:lnTo>
                <a:lnTo>
                  <a:pt x="1600200" y="4533347"/>
                </a:lnTo>
                <a:lnTo>
                  <a:pt x="1600200" y="4533079"/>
                </a:lnTo>
                <a:lnTo>
                  <a:pt x="1482939" y="4527158"/>
                </a:lnTo>
                <a:cubicBezTo>
                  <a:pt x="878343" y="4465758"/>
                  <a:pt x="406544" y="3955158"/>
                  <a:pt x="406544" y="3334364"/>
                </a:cubicBezTo>
                <a:cubicBezTo>
                  <a:pt x="406544" y="2713569"/>
                  <a:pt x="878343" y="2202970"/>
                  <a:pt x="1482939" y="2141570"/>
                </a:cubicBezTo>
                <a:lnTo>
                  <a:pt x="1600199" y="2135649"/>
                </a:lnTo>
                <a:lnTo>
                  <a:pt x="1600199" y="2135380"/>
                </a:lnTo>
                <a:lnTo>
                  <a:pt x="1605528" y="2135380"/>
                </a:lnTo>
                <a:lnTo>
                  <a:pt x="6596885" y="2135380"/>
                </a:lnTo>
                <a:lnTo>
                  <a:pt x="6596885" y="2134311"/>
                </a:lnTo>
                <a:cubicBezTo>
                  <a:pt x="7113452" y="2134311"/>
                  <a:pt x="7532212" y="1715551"/>
                  <a:pt x="7532212" y="1198984"/>
                </a:cubicBezTo>
                <a:cubicBezTo>
                  <a:pt x="7532212" y="682417"/>
                  <a:pt x="7113452" y="263657"/>
                  <a:pt x="6596885" y="263657"/>
                </a:cubicBezTo>
                <a:lnTo>
                  <a:pt x="6596885" y="263346"/>
                </a:lnTo>
                <a:lnTo>
                  <a:pt x="0" y="26334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pSp>
        <p:nvGrpSpPr>
          <p:cNvPr id="475" name="Group 474">
            <a:extLst>
              <a:ext uri="{FF2B5EF4-FFF2-40B4-BE49-F238E27FC236}">
                <a16:creationId xmlns:a16="http://schemas.microsoft.com/office/drawing/2014/main" id="{EF9B9665-2FF5-4D47-8E3D-72668F83837E}"/>
              </a:ext>
            </a:extLst>
          </p:cNvPr>
          <p:cNvGrpSpPr/>
          <p:nvPr/>
        </p:nvGrpSpPr>
        <p:grpSpPr>
          <a:xfrm>
            <a:off x="8367796" y="1245892"/>
            <a:ext cx="1255208" cy="2629985"/>
            <a:chOff x="8551022" y="1401707"/>
            <a:chExt cx="1422566" cy="3010450"/>
          </a:xfrm>
        </p:grpSpPr>
        <p:sp>
          <p:nvSpPr>
            <p:cNvPr id="431" name="Isosceles Triangle 430">
              <a:extLst>
                <a:ext uri="{FF2B5EF4-FFF2-40B4-BE49-F238E27FC236}">
                  <a16:creationId xmlns:a16="http://schemas.microsoft.com/office/drawing/2014/main" id="{39589434-946A-4E98-A52B-2421A66E7E09}"/>
                </a:ext>
              </a:extLst>
            </p:cNvPr>
            <p:cNvSpPr/>
            <p:nvPr/>
          </p:nvSpPr>
          <p:spPr>
            <a:xfrm rot="5400000">
              <a:off x="8540371" y="1412358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32" name="Isosceles Triangle 431">
              <a:extLst>
                <a:ext uri="{FF2B5EF4-FFF2-40B4-BE49-F238E27FC236}">
                  <a16:creationId xmlns:a16="http://schemas.microsoft.com/office/drawing/2014/main" id="{CE72C76E-E345-481B-978E-924636EE9E74}"/>
                </a:ext>
              </a:extLst>
            </p:cNvPr>
            <p:cNvSpPr/>
            <p:nvPr/>
          </p:nvSpPr>
          <p:spPr>
            <a:xfrm rot="5892245">
              <a:off x="8742634" y="1424872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33" name="Isosceles Triangle 432">
              <a:extLst>
                <a:ext uri="{FF2B5EF4-FFF2-40B4-BE49-F238E27FC236}">
                  <a16:creationId xmlns:a16="http://schemas.microsoft.com/office/drawing/2014/main" id="{81B445BB-62EE-43D5-A4EB-0602563E746E}"/>
                </a:ext>
              </a:extLst>
            </p:cNvPr>
            <p:cNvSpPr/>
            <p:nvPr/>
          </p:nvSpPr>
          <p:spPr>
            <a:xfrm rot="6467866">
              <a:off x="8944897" y="1500768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34" name="Isosceles Triangle 433">
              <a:extLst>
                <a:ext uri="{FF2B5EF4-FFF2-40B4-BE49-F238E27FC236}">
                  <a16:creationId xmlns:a16="http://schemas.microsoft.com/office/drawing/2014/main" id="{C430F04C-236F-4990-B201-764B5BF3A19B}"/>
                </a:ext>
              </a:extLst>
            </p:cNvPr>
            <p:cNvSpPr/>
            <p:nvPr/>
          </p:nvSpPr>
          <p:spPr>
            <a:xfrm rot="7166443">
              <a:off x="9139284" y="1580855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35" name="Isosceles Triangle 434">
              <a:extLst>
                <a:ext uri="{FF2B5EF4-FFF2-40B4-BE49-F238E27FC236}">
                  <a16:creationId xmlns:a16="http://schemas.microsoft.com/office/drawing/2014/main" id="{A0ED8403-4429-4F85-AAED-DD85E36E9530}"/>
                </a:ext>
              </a:extLst>
            </p:cNvPr>
            <p:cNvSpPr/>
            <p:nvPr/>
          </p:nvSpPr>
          <p:spPr>
            <a:xfrm rot="7552672">
              <a:off x="9315757" y="1698482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36" name="Isosceles Triangle 435">
              <a:extLst>
                <a:ext uri="{FF2B5EF4-FFF2-40B4-BE49-F238E27FC236}">
                  <a16:creationId xmlns:a16="http://schemas.microsoft.com/office/drawing/2014/main" id="{92593D7F-A6A3-401E-BA1B-5B1291AA05DC}"/>
                </a:ext>
              </a:extLst>
            </p:cNvPr>
            <p:cNvSpPr/>
            <p:nvPr/>
          </p:nvSpPr>
          <p:spPr>
            <a:xfrm rot="8329341">
              <a:off x="9465563" y="1828647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37" name="Isosceles Triangle 436">
              <a:extLst>
                <a:ext uri="{FF2B5EF4-FFF2-40B4-BE49-F238E27FC236}">
                  <a16:creationId xmlns:a16="http://schemas.microsoft.com/office/drawing/2014/main" id="{94990E51-C5F6-422B-8EE4-41BAEF3BB826}"/>
                </a:ext>
              </a:extLst>
            </p:cNvPr>
            <p:cNvSpPr/>
            <p:nvPr/>
          </p:nvSpPr>
          <p:spPr>
            <a:xfrm rot="8717415">
              <a:off x="9603676" y="2008563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38" name="Isosceles Triangle 437">
              <a:extLst>
                <a:ext uri="{FF2B5EF4-FFF2-40B4-BE49-F238E27FC236}">
                  <a16:creationId xmlns:a16="http://schemas.microsoft.com/office/drawing/2014/main" id="{6F3FE137-19EE-473C-83A8-FA30B635C818}"/>
                </a:ext>
              </a:extLst>
            </p:cNvPr>
            <p:cNvSpPr/>
            <p:nvPr/>
          </p:nvSpPr>
          <p:spPr>
            <a:xfrm rot="9382219">
              <a:off x="9727504" y="2217059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39" name="Isosceles Triangle 438">
              <a:extLst>
                <a:ext uri="{FF2B5EF4-FFF2-40B4-BE49-F238E27FC236}">
                  <a16:creationId xmlns:a16="http://schemas.microsoft.com/office/drawing/2014/main" id="{F6309DC4-730A-484B-80CF-A435A8AAB9CB}"/>
                </a:ext>
              </a:extLst>
            </p:cNvPr>
            <p:cNvSpPr/>
            <p:nvPr/>
          </p:nvSpPr>
          <p:spPr>
            <a:xfrm rot="9823366">
              <a:off x="9806085" y="2440218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40" name="Isosceles Triangle 439">
              <a:extLst>
                <a:ext uri="{FF2B5EF4-FFF2-40B4-BE49-F238E27FC236}">
                  <a16:creationId xmlns:a16="http://schemas.microsoft.com/office/drawing/2014/main" id="{8FF06103-B167-4D30-98FC-981C6ADD9EED}"/>
                </a:ext>
              </a:extLst>
            </p:cNvPr>
            <p:cNvSpPr/>
            <p:nvPr/>
          </p:nvSpPr>
          <p:spPr>
            <a:xfrm rot="10315961">
              <a:off x="9848947" y="2674051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41" name="Isosceles Triangle 440">
              <a:extLst>
                <a:ext uri="{FF2B5EF4-FFF2-40B4-BE49-F238E27FC236}">
                  <a16:creationId xmlns:a16="http://schemas.microsoft.com/office/drawing/2014/main" id="{E072FF89-0BD7-422A-BFE5-26A5CB05E4D9}"/>
                </a:ext>
              </a:extLst>
            </p:cNvPr>
            <p:cNvSpPr/>
            <p:nvPr/>
          </p:nvSpPr>
          <p:spPr>
            <a:xfrm rot="10800000">
              <a:off x="9860854" y="2893150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42" name="Isosceles Triangle 441">
              <a:extLst>
                <a:ext uri="{FF2B5EF4-FFF2-40B4-BE49-F238E27FC236}">
                  <a16:creationId xmlns:a16="http://schemas.microsoft.com/office/drawing/2014/main" id="{5BB1F042-5078-4366-A813-F042F95498C4}"/>
                </a:ext>
              </a:extLst>
            </p:cNvPr>
            <p:cNvSpPr/>
            <p:nvPr/>
          </p:nvSpPr>
          <p:spPr>
            <a:xfrm rot="11453211">
              <a:off x="9844185" y="3099905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43" name="Isosceles Triangle 442">
              <a:extLst>
                <a:ext uri="{FF2B5EF4-FFF2-40B4-BE49-F238E27FC236}">
                  <a16:creationId xmlns:a16="http://schemas.microsoft.com/office/drawing/2014/main" id="{4E720068-98F1-4BB5-8617-280B4C0D2FF9}"/>
                </a:ext>
              </a:extLst>
            </p:cNvPr>
            <p:cNvSpPr/>
            <p:nvPr/>
          </p:nvSpPr>
          <p:spPr>
            <a:xfrm rot="12012083">
              <a:off x="9794180" y="3318848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44" name="Isosceles Triangle 443">
              <a:extLst>
                <a:ext uri="{FF2B5EF4-FFF2-40B4-BE49-F238E27FC236}">
                  <a16:creationId xmlns:a16="http://schemas.microsoft.com/office/drawing/2014/main" id="{576C6AC1-D8DB-44C1-8102-6709A462AAA4}"/>
                </a:ext>
              </a:extLst>
            </p:cNvPr>
            <p:cNvSpPr/>
            <p:nvPr/>
          </p:nvSpPr>
          <p:spPr>
            <a:xfrm rot="12415846">
              <a:off x="9703693" y="3536887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45" name="Isosceles Triangle 444">
              <a:extLst>
                <a:ext uri="{FF2B5EF4-FFF2-40B4-BE49-F238E27FC236}">
                  <a16:creationId xmlns:a16="http://schemas.microsoft.com/office/drawing/2014/main" id="{1F6684D2-77A7-49D7-A854-2D4684464C85}"/>
                </a:ext>
              </a:extLst>
            </p:cNvPr>
            <p:cNvSpPr/>
            <p:nvPr/>
          </p:nvSpPr>
          <p:spPr>
            <a:xfrm rot="13020737">
              <a:off x="9571074" y="3763270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46" name="Isosceles Triangle 445">
              <a:extLst>
                <a:ext uri="{FF2B5EF4-FFF2-40B4-BE49-F238E27FC236}">
                  <a16:creationId xmlns:a16="http://schemas.microsoft.com/office/drawing/2014/main" id="{8953D230-071E-4CAC-8334-E36A0966BA42}"/>
                </a:ext>
              </a:extLst>
            </p:cNvPr>
            <p:cNvSpPr/>
            <p:nvPr/>
          </p:nvSpPr>
          <p:spPr>
            <a:xfrm rot="13987919">
              <a:off x="9420561" y="3939761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47" name="Isosceles Triangle 446">
              <a:extLst>
                <a:ext uri="{FF2B5EF4-FFF2-40B4-BE49-F238E27FC236}">
                  <a16:creationId xmlns:a16="http://schemas.microsoft.com/office/drawing/2014/main" id="{B3668587-CA23-4F87-B833-A12619585245}"/>
                </a:ext>
              </a:extLst>
            </p:cNvPr>
            <p:cNvSpPr/>
            <p:nvPr/>
          </p:nvSpPr>
          <p:spPr>
            <a:xfrm rot="14412693">
              <a:off x="9242973" y="4082416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48" name="Isosceles Triangle 447">
              <a:extLst>
                <a:ext uri="{FF2B5EF4-FFF2-40B4-BE49-F238E27FC236}">
                  <a16:creationId xmlns:a16="http://schemas.microsoft.com/office/drawing/2014/main" id="{8FA2C480-DE05-420B-82A5-7258C739BD8B}"/>
                </a:ext>
              </a:extLst>
            </p:cNvPr>
            <p:cNvSpPr/>
            <p:nvPr/>
          </p:nvSpPr>
          <p:spPr>
            <a:xfrm rot="15036362">
              <a:off x="9056689" y="4185028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49" name="Isosceles Triangle 448">
              <a:extLst>
                <a:ext uri="{FF2B5EF4-FFF2-40B4-BE49-F238E27FC236}">
                  <a16:creationId xmlns:a16="http://schemas.microsoft.com/office/drawing/2014/main" id="{38E22DC2-8A85-4B68-B24A-0C1358409F0A}"/>
                </a:ext>
              </a:extLst>
            </p:cNvPr>
            <p:cNvSpPr/>
            <p:nvPr/>
          </p:nvSpPr>
          <p:spPr>
            <a:xfrm rot="15653508">
              <a:off x="8846474" y="4279296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450" name="Isosceles Triangle 449">
              <a:extLst>
                <a:ext uri="{FF2B5EF4-FFF2-40B4-BE49-F238E27FC236}">
                  <a16:creationId xmlns:a16="http://schemas.microsoft.com/office/drawing/2014/main" id="{C7BC0F8E-D2AE-4F35-8056-CA39FFF94833}"/>
                </a:ext>
              </a:extLst>
            </p:cNvPr>
            <p:cNvSpPr/>
            <p:nvPr/>
          </p:nvSpPr>
          <p:spPr>
            <a:xfrm rot="16200000">
              <a:off x="8636260" y="4304323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</p:grpSp>
      <p:grpSp>
        <p:nvGrpSpPr>
          <p:cNvPr id="485" name="Group 484">
            <a:extLst>
              <a:ext uri="{FF2B5EF4-FFF2-40B4-BE49-F238E27FC236}">
                <a16:creationId xmlns:a16="http://schemas.microsoft.com/office/drawing/2014/main" id="{45DAE407-6587-4490-91DC-6B7083DEA4B4}"/>
              </a:ext>
            </a:extLst>
          </p:cNvPr>
          <p:cNvGrpSpPr/>
          <p:nvPr/>
        </p:nvGrpSpPr>
        <p:grpSpPr>
          <a:xfrm>
            <a:off x="1911710" y="1264399"/>
            <a:ext cx="847636" cy="848053"/>
            <a:chOff x="1063364" y="1223730"/>
            <a:chExt cx="990248" cy="990248"/>
          </a:xfrm>
          <a:solidFill>
            <a:srgbClr val="005837"/>
          </a:solidFill>
        </p:grpSpPr>
        <p:sp>
          <p:nvSpPr>
            <p:cNvPr id="478" name="Oval 477">
              <a:extLst>
                <a:ext uri="{FF2B5EF4-FFF2-40B4-BE49-F238E27FC236}">
                  <a16:creationId xmlns:a16="http://schemas.microsoft.com/office/drawing/2014/main" id="{4FD667BE-1502-4488-B6DE-A9494EEA7BC3}"/>
                </a:ext>
              </a:extLst>
            </p:cNvPr>
            <p:cNvSpPr/>
            <p:nvPr/>
          </p:nvSpPr>
          <p:spPr>
            <a:xfrm>
              <a:off x="1063364" y="1223730"/>
              <a:ext cx="990248" cy="99024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1"/>
            <a:lstStyle/>
            <a:p>
              <a:pPr algn="ctr"/>
              <a:endParaRPr lang="en-IN" dirty="0"/>
            </a:p>
          </p:txBody>
        </p:sp>
        <p:sp>
          <p:nvSpPr>
            <p:cNvPr id="479" name="Oval 478">
              <a:extLst>
                <a:ext uri="{FF2B5EF4-FFF2-40B4-BE49-F238E27FC236}">
                  <a16:creationId xmlns:a16="http://schemas.microsoft.com/office/drawing/2014/main" id="{58C51CE7-3BF8-45D7-97FC-269D064EFE47}"/>
                </a:ext>
              </a:extLst>
            </p:cNvPr>
            <p:cNvSpPr/>
            <p:nvPr/>
          </p:nvSpPr>
          <p:spPr>
            <a:xfrm>
              <a:off x="1131933" y="1284604"/>
              <a:ext cx="853106" cy="853106"/>
            </a:xfrm>
            <a:prstGeom prst="ellipse">
              <a:avLst/>
            </a:prstGeom>
            <a:solidFill>
              <a:srgbClr val="6EBB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IN" dirty="0"/>
                <a:t>START</a:t>
              </a:r>
            </a:p>
          </p:txBody>
        </p:sp>
      </p:grpSp>
      <p:sp>
        <p:nvSpPr>
          <p:cNvPr id="482" name="Oval 481">
            <a:extLst>
              <a:ext uri="{FF2B5EF4-FFF2-40B4-BE49-F238E27FC236}">
                <a16:creationId xmlns:a16="http://schemas.microsoft.com/office/drawing/2014/main" id="{3A5EB033-28D6-4488-9C98-225236B4C3E6}"/>
              </a:ext>
            </a:extLst>
          </p:cNvPr>
          <p:cNvSpPr/>
          <p:nvPr/>
        </p:nvSpPr>
        <p:spPr>
          <a:xfrm>
            <a:off x="9319563" y="4896639"/>
            <a:ext cx="847636" cy="848053"/>
          </a:xfrm>
          <a:prstGeom prst="ellipse">
            <a:avLst/>
          </a:prstGeom>
          <a:solidFill>
            <a:srgbClr val="0058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/>
            <a:endParaRPr lang="en-IN" dirty="0"/>
          </a:p>
        </p:txBody>
      </p:sp>
      <p:sp>
        <p:nvSpPr>
          <p:cNvPr id="483" name="Oval 482">
            <a:extLst>
              <a:ext uri="{FF2B5EF4-FFF2-40B4-BE49-F238E27FC236}">
                <a16:creationId xmlns:a16="http://schemas.microsoft.com/office/drawing/2014/main" id="{81836F45-B0BF-43A8-BF85-D93A1BD47980}"/>
              </a:ext>
            </a:extLst>
          </p:cNvPr>
          <p:cNvSpPr/>
          <p:nvPr/>
        </p:nvSpPr>
        <p:spPr>
          <a:xfrm>
            <a:off x="9378260" y="4955363"/>
            <a:ext cx="730245" cy="730604"/>
          </a:xfrm>
          <a:prstGeom prst="ellipse">
            <a:avLst/>
          </a:prstGeom>
          <a:solidFill>
            <a:srgbClr val="6EBB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IN" dirty="0"/>
              <a:t>Win</a:t>
            </a:r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id="{287B240E-EB47-4CDF-8AA4-4D2046C12311}"/>
              </a:ext>
            </a:extLst>
          </p:cNvPr>
          <p:cNvSpPr txBox="1"/>
          <p:nvPr/>
        </p:nvSpPr>
        <p:spPr>
          <a:xfrm>
            <a:off x="7015935" y="2316331"/>
            <a:ext cx="1611315" cy="4308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Initial </a:t>
            </a:r>
          </a:p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lan</a:t>
            </a:r>
          </a:p>
        </p:txBody>
      </p:sp>
      <p:sp>
        <p:nvSpPr>
          <p:cNvPr id="496" name="TextBox 495">
            <a:extLst>
              <a:ext uri="{FF2B5EF4-FFF2-40B4-BE49-F238E27FC236}">
                <a16:creationId xmlns:a16="http://schemas.microsoft.com/office/drawing/2014/main" id="{99643B61-02B5-4421-A2CD-58D8F07E57E9}"/>
              </a:ext>
            </a:extLst>
          </p:cNvPr>
          <p:cNvSpPr txBox="1"/>
          <p:nvPr/>
        </p:nvSpPr>
        <p:spPr>
          <a:xfrm>
            <a:off x="7033241" y="3986062"/>
            <a:ext cx="1611315" cy="64633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ublic Opinion Research and Survey</a:t>
            </a:r>
          </a:p>
        </p:txBody>
      </p:sp>
      <p:sp>
        <p:nvSpPr>
          <p:cNvPr id="497" name="Isosceles Triangle 496">
            <a:extLst>
              <a:ext uri="{FF2B5EF4-FFF2-40B4-BE49-F238E27FC236}">
                <a16:creationId xmlns:a16="http://schemas.microsoft.com/office/drawing/2014/main" id="{C638BB5F-BEC5-47ED-9F41-1C5B112203F9}"/>
              </a:ext>
            </a:extLst>
          </p:cNvPr>
          <p:cNvSpPr/>
          <p:nvPr/>
        </p:nvSpPr>
        <p:spPr>
          <a:xfrm rot="5400000">
            <a:off x="6719538" y="2373723"/>
            <a:ext cx="348298" cy="223781"/>
          </a:xfrm>
          <a:prstGeom prst="triangle">
            <a:avLst/>
          </a:prstGeom>
          <a:solidFill>
            <a:srgbClr val="005837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00" name="Oval 499">
            <a:extLst>
              <a:ext uri="{FF2B5EF4-FFF2-40B4-BE49-F238E27FC236}">
                <a16:creationId xmlns:a16="http://schemas.microsoft.com/office/drawing/2014/main" id="{897C9A93-4116-4751-98DD-871D26136F4E}"/>
              </a:ext>
            </a:extLst>
          </p:cNvPr>
          <p:cNvSpPr/>
          <p:nvPr/>
        </p:nvSpPr>
        <p:spPr>
          <a:xfrm>
            <a:off x="5503265" y="3073879"/>
            <a:ext cx="847636" cy="84805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01600" dir="21540000" sx="106000" sy="106000" algn="l" rotWithShape="0">
              <a:schemeClr val="tx2">
                <a:lumMod val="60000"/>
                <a:lumOff val="4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/>
            <a:endParaRPr lang="en-IN" dirty="0"/>
          </a:p>
        </p:txBody>
      </p:sp>
      <p:sp>
        <p:nvSpPr>
          <p:cNvPr id="502" name="TextBox 501">
            <a:extLst>
              <a:ext uri="{FF2B5EF4-FFF2-40B4-BE49-F238E27FC236}">
                <a16:creationId xmlns:a16="http://schemas.microsoft.com/office/drawing/2014/main" id="{62AD3B64-C882-45F2-8336-6140F0F755FE}"/>
              </a:ext>
            </a:extLst>
          </p:cNvPr>
          <p:cNvSpPr txBox="1"/>
          <p:nvPr/>
        </p:nvSpPr>
        <p:spPr>
          <a:xfrm>
            <a:off x="3308545" y="4012723"/>
            <a:ext cx="1611316" cy="64633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Stakeholder and Community Outreach</a:t>
            </a:r>
          </a:p>
        </p:txBody>
      </p:sp>
      <p:sp>
        <p:nvSpPr>
          <p:cNvPr id="503" name="Isosceles Triangle 502">
            <a:extLst>
              <a:ext uri="{FF2B5EF4-FFF2-40B4-BE49-F238E27FC236}">
                <a16:creationId xmlns:a16="http://schemas.microsoft.com/office/drawing/2014/main" id="{D1D454D9-1012-4AF2-890F-125C583A4984}"/>
              </a:ext>
            </a:extLst>
          </p:cNvPr>
          <p:cNvSpPr/>
          <p:nvPr/>
        </p:nvSpPr>
        <p:spPr>
          <a:xfrm rot="16200000">
            <a:off x="4879080" y="4197338"/>
            <a:ext cx="348298" cy="223781"/>
          </a:xfrm>
          <a:prstGeom prst="triangle">
            <a:avLst/>
          </a:prstGeom>
          <a:solidFill>
            <a:srgbClr val="005837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lt1">
                  <a:alpha val="20000"/>
                </a:schemeClr>
              </a:solidFill>
            </a:endParaRPr>
          </a:p>
        </p:txBody>
      </p:sp>
      <p:sp>
        <p:nvSpPr>
          <p:cNvPr id="507" name="Oval 506">
            <a:extLst>
              <a:ext uri="{FF2B5EF4-FFF2-40B4-BE49-F238E27FC236}">
                <a16:creationId xmlns:a16="http://schemas.microsoft.com/office/drawing/2014/main" id="{1AD6532C-538E-4198-B2CD-FA704F147249}"/>
              </a:ext>
            </a:extLst>
          </p:cNvPr>
          <p:cNvSpPr/>
          <p:nvPr/>
        </p:nvSpPr>
        <p:spPr>
          <a:xfrm>
            <a:off x="3639409" y="3056890"/>
            <a:ext cx="847636" cy="84805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01600" dir="21540000" sx="106000" sy="106000" algn="l" rotWithShape="0">
              <a:schemeClr val="tx2">
                <a:lumMod val="60000"/>
                <a:lumOff val="4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/>
            <a:endParaRPr lang="en-IN" dirty="0"/>
          </a:p>
        </p:txBody>
      </p:sp>
      <p:sp>
        <p:nvSpPr>
          <p:cNvPr id="510" name="TextBox 509">
            <a:extLst>
              <a:ext uri="{FF2B5EF4-FFF2-40B4-BE49-F238E27FC236}">
                <a16:creationId xmlns:a16="http://schemas.microsoft.com/office/drawing/2014/main" id="{63ED8157-2A15-444C-92EB-775CF257786E}"/>
              </a:ext>
            </a:extLst>
          </p:cNvPr>
          <p:cNvSpPr txBox="1"/>
          <p:nvPr/>
        </p:nvSpPr>
        <p:spPr>
          <a:xfrm>
            <a:off x="5149759" y="3986062"/>
            <a:ext cx="1611315" cy="64633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Craft Funding </a:t>
            </a:r>
          </a:p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Measure and Message</a:t>
            </a:r>
          </a:p>
        </p:txBody>
      </p:sp>
      <p:sp>
        <p:nvSpPr>
          <p:cNvPr id="514" name="TextBox 513">
            <a:extLst>
              <a:ext uri="{FF2B5EF4-FFF2-40B4-BE49-F238E27FC236}">
                <a16:creationId xmlns:a16="http://schemas.microsoft.com/office/drawing/2014/main" id="{DEAEB4CF-47F7-4262-8EAE-E2D012A7F7DF}"/>
              </a:ext>
            </a:extLst>
          </p:cNvPr>
          <p:cNvSpPr txBox="1"/>
          <p:nvPr/>
        </p:nvSpPr>
        <p:spPr>
          <a:xfrm>
            <a:off x="3308440" y="5928805"/>
            <a:ext cx="1611315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inalize Plan</a:t>
            </a:r>
          </a:p>
        </p:txBody>
      </p:sp>
      <p:sp>
        <p:nvSpPr>
          <p:cNvPr id="515" name="Isosceles Triangle 514">
            <a:extLst>
              <a:ext uri="{FF2B5EF4-FFF2-40B4-BE49-F238E27FC236}">
                <a16:creationId xmlns:a16="http://schemas.microsoft.com/office/drawing/2014/main" id="{5919D703-D148-4B60-A2A9-22DE75B7F8A2}"/>
              </a:ext>
            </a:extLst>
          </p:cNvPr>
          <p:cNvSpPr/>
          <p:nvPr/>
        </p:nvSpPr>
        <p:spPr>
          <a:xfrm rot="5400000">
            <a:off x="4874795" y="5970804"/>
            <a:ext cx="348298" cy="223781"/>
          </a:xfrm>
          <a:prstGeom prst="triangle">
            <a:avLst/>
          </a:prstGeom>
          <a:solidFill>
            <a:srgbClr val="005837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20" name="TextBox 519">
            <a:extLst>
              <a:ext uri="{FF2B5EF4-FFF2-40B4-BE49-F238E27FC236}">
                <a16:creationId xmlns:a16="http://schemas.microsoft.com/office/drawing/2014/main" id="{5EE1CABF-BF17-441F-9358-A98DC4E35C90}"/>
              </a:ext>
            </a:extLst>
          </p:cNvPr>
          <p:cNvSpPr txBox="1"/>
          <p:nvPr/>
        </p:nvSpPr>
        <p:spPr>
          <a:xfrm>
            <a:off x="5183009" y="5908545"/>
            <a:ext cx="1589548" cy="64633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Ballot </a:t>
            </a:r>
          </a:p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Proceeding / Election</a:t>
            </a:r>
          </a:p>
        </p:txBody>
      </p:sp>
      <p:grpSp>
        <p:nvGrpSpPr>
          <p:cNvPr id="564" name="Group 563">
            <a:extLst>
              <a:ext uri="{FF2B5EF4-FFF2-40B4-BE49-F238E27FC236}">
                <a16:creationId xmlns:a16="http://schemas.microsoft.com/office/drawing/2014/main" id="{D1E7EF46-FECF-48AC-AFAC-AA2153383D7E}"/>
              </a:ext>
            </a:extLst>
          </p:cNvPr>
          <p:cNvGrpSpPr/>
          <p:nvPr/>
        </p:nvGrpSpPr>
        <p:grpSpPr>
          <a:xfrm flipH="1">
            <a:off x="2246855" y="3111384"/>
            <a:ext cx="1255208" cy="2656286"/>
            <a:chOff x="8551022" y="1401707"/>
            <a:chExt cx="1422566" cy="3010450"/>
          </a:xfrm>
        </p:grpSpPr>
        <p:sp>
          <p:nvSpPr>
            <p:cNvPr id="565" name="Isosceles Triangle 564">
              <a:extLst>
                <a:ext uri="{FF2B5EF4-FFF2-40B4-BE49-F238E27FC236}">
                  <a16:creationId xmlns:a16="http://schemas.microsoft.com/office/drawing/2014/main" id="{0BE9597B-2EA0-403A-9302-C2BE524A8BC2}"/>
                </a:ext>
              </a:extLst>
            </p:cNvPr>
            <p:cNvSpPr/>
            <p:nvPr/>
          </p:nvSpPr>
          <p:spPr>
            <a:xfrm rot="5400000">
              <a:off x="8540371" y="1412358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66" name="Isosceles Triangle 565">
              <a:extLst>
                <a:ext uri="{FF2B5EF4-FFF2-40B4-BE49-F238E27FC236}">
                  <a16:creationId xmlns:a16="http://schemas.microsoft.com/office/drawing/2014/main" id="{0436359B-8E02-48B3-906E-61206469EF23}"/>
                </a:ext>
              </a:extLst>
            </p:cNvPr>
            <p:cNvSpPr/>
            <p:nvPr/>
          </p:nvSpPr>
          <p:spPr>
            <a:xfrm rot="5892245">
              <a:off x="8742634" y="1424872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67" name="Isosceles Triangle 566">
              <a:extLst>
                <a:ext uri="{FF2B5EF4-FFF2-40B4-BE49-F238E27FC236}">
                  <a16:creationId xmlns:a16="http://schemas.microsoft.com/office/drawing/2014/main" id="{B8D84D7F-A304-44FE-82A1-7C6A44CD2199}"/>
                </a:ext>
              </a:extLst>
            </p:cNvPr>
            <p:cNvSpPr/>
            <p:nvPr/>
          </p:nvSpPr>
          <p:spPr>
            <a:xfrm rot="6467866">
              <a:off x="8944897" y="1500768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68" name="Isosceles Triangle 567">
              <a:extLst>
                <a:ext uri="{FF2B5EF4-FFF2-40B4-BE49-F238E27FC236}">
                  <a16:creationId xmlns:a16="http://schemas.microsoft.com/office/drawing/2014/main" id="{71CB7F0A-6922-45A2-8618-413B32B1245D}"/>
                </a:ext>
              </a:extLst>
            </p:cNvPr>
            <p:cNvSpPr/>
            <p:nvPr/>
          </p:nvSpPr>
          <p:spPr>
            <a:xfrm rot="7166443">
              <a:off x="9139284" y="1580855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69" name="Isosceles Triangle 568">
              <a:extLst>
                <a:ext uri="{FF2B5EF4-FFF2-40B4-BE49-F238E27FC236}">
                  <a16:creationId xmlns:a16="http://schemas.microsoft.com/office/drawing/2014/main" id="{46EF4978-9696-4521-8CEF-DA2BD78DC318}"/>
                </a:ext>
              </a:extLst>
            </p:cNvPr>
            <p:cNvSpPr/>
            <p:nvPr/>
          </p:nvSpPr>
          <p:spPr>
            <a:xfrm rot="7552672">
              <a:off x="9315757" y="1698482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70" name="Isosceles Triangle 569">
              <a:extLst>
                <a:ext uri="{FF2B5EF4-FFF2-40B4-BE49-F238E27FC236}">
                  <a16:creationId xmlns:a16="http://schemas.microsoft.com/office/drawing/2014/main" id="{D7647A78-46F2-4E77-8AD8-9AD81B584578}"/>
                </a:ext>
              </a:extLst>
            </p:cNvPr>
            <p:cNvSpPr/>
            <p:nvPr/>
          </p:nvSpPr>
          <p:spPr>
            <a:xfrm rot="8329341">
              <a:off x="9465563" y="1828647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71" name="Isosceles Triangle 570">
              <a:extLst>
                <a:ext uri="{FF2B5EF4-FFF2-40B4-BE49-F238E27FC236}">
                  <a16:creationId xmlns:a16="http://schemas.microsoft.com/office/drawing/2014/main" id="{790F71DC-2442-4D6C-AD8A-882834AC010D}"/>
                </a:ext>
              </a:extLst>
            </p:cNvPr>
            <p:cNvSpPr/>
            <p:nvPr/>
          </p:nvSpPr>
          <p:spPr>
            <a:xfrm rot="8717415">
              <a:off x="9603676" y="2008563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72" name="Isosceles Triangle 571">
              <a:extLst>
                <a:ext uri="{FF2B5EF4-FFF2-40B4-BE49-F238E27FC236}">
                  <a16:creationId xmlns:a16="http://schemas.microsoft.com/office/drawing/2014/main" id="{D2E162CF-3E58-4E27-AD07-A37302245035}"/>
                </a:ext>
              </a:extLst>
            </p:cNvPr>
            <p:cNvSpPr/>
            <p:nvPr/>
          </p:nvSpPr>
          <p:spPr>
            <a:xfrm rot="9382219">
              <a:off x="9727504" y="2217059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73" name="Isosceles Triangle 572">
              <a:extLst>
                <a:ext uri="{FF2B5EF4-FFF2-40B4-BE49-F238E27FC236}">
                  <a16:creationId xmlns:a16="http://schemas.microsoft.com/office/drawing/2014/main" id="{24E4AD2F-0A96-4982-B7FA-F47232BC8CC4}"/>
                </a:ext>
              </a:extLst>
            </p:cNvPr>
            <p:cNvSpPr/>
            <p:nvPr/>
          </p:nvSpPr>
          <p:spPr>
            <a:xfrm rot="9823366">
              <a:off x="9806085" y="2440218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74" name="Isosceles Triangle 573">
              <a:extLst>
                <a:ext uri="{FF2B5EF4-FFF2-40B4-BE49-F238E27FC236}">
                  <a16:creationId xmlns:a16="http://schemas.microsoft.com/office/drawing/2014/main" id="{C81B378C-2E30-43EF-B822-C03482CEC333}"/>
                </a:ext>
              </a:extLst>
            </p:cNvPr>
            <p:cNvSpPr/>
            <p:nvPr/>
          </p:nvSpPr>
          <p:spPr>
            <a:xfrm rot="10315961">
              <a:off x="9848947" y="2674051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75" name="Isosceles Triangle 574">
              <a:extLst>
                <a:ext uri="{FF2B5EF4-FFF2-40B4-BE49-F238E27FC236}">
                  <a16:creationId xmlns:a16="http://schemas.microsoft.com/office/drawing/2014/main" id="{69011116-343C-4CD7-9C76-3BCEA0FA9BFD}"/>
                </a:ext>
              </a:extLst>
            </p:cNvPr>
            <p:cNvSpPr/>
            <p:nvPr/>
          </p:nvSpPr>
          <p:spPr>
            <a:xfrm rot="10800000">
              <a:off x="9860854" y="2893150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76" name="Isosceles Triangle 575">
              <a:extLst>
                <a:ext uri="{FF2B5EF4-FFF2-40B4-BE49-F238E27FC236}">
                  <a16:creationId xmlns:a16="http://schemas.microsoft.com/office/drawing/2014/main" id="{5360FB54-453A-4851-9328-BF058070F383}"/>
                </a:ext>
              </a:extLst>
            </p:cNvPr>
            <p:cNvSpPr/>
            <p:nvPr/>
          </p:nvSpPr>
          <p:spPr>
            <a:xfrm rot="11453211">
              <a:off x="9844185" y="3099905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77" name="Isosceles Triangle 576">
              <a:extLst>
                <a:ext uri="{FF2B5EF4-FFF2-40B4-BE49-F238E27FC236}">
                  <a16:creationId xmlns:a16="http://schemas.microsoft.com/office/drawing/2014/main" id="{6903DA48-0E4E-4639-B2AA-37E7DC20A73D}"/>
                </a:ext>
              </a:extLst>
            </p:cNvPr>
            <p:cNvSpPr/>
            <p:nvPr/>
          </p:nvSpPr>
          <p:spPr>
            <a:xfrm rot="12012083">
              <a:off x="9794180" y="3318848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78" name="Isosceles Triangle 577">
              <a:extLst>
                <a:ext uri="{FF2B5EF4-FFF2-40B4-BE49-F238E27FC236}">
                  <a16:creationId xmlns:a16="http://schemas.microsoft.com/office/drawing/2014/main" id="{AD463C22-31D8-4D6C-8DF7-C492827B10FB}"/>
                </a:ext>
              </a:extLst>
            </p:cNvPr>
            <p:cNvSpPr/>
            <p:nvPr/>
          </p:nvSpPr>
          <p:spPr>
            <a:xfrm rot="12415846">
              <a:off x="9703693" y="3536887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79" name="Isosceles Triangle 578">
              <a:extLst>
                <a:ext uri="{FF2B5EF4-FFF2-40B4-BE49-F238E27FC236}">
                  <a16:creationId xmlns:a16="http://schemas.microsoft.com/office/drawing/2014/main" id="{39CBA5EC-B9D5-4B29-9A13-E7F0DACA95C2}"/>
                </a:ext>
              </a:extLst>
            </p:cNvPr>
            <p:cNvSpPr/>
            <p:nvPr/>
          </p:nvSpPr>
          <p:spPr>
            <a:xfrm rot="13020737">
              <a:off x="9571074" y="3763270"/>
              <a:ext cx="112734" cy="102141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80" name="Isosceles Triangle 579">
              <a:extLst>
                <a:ext uri="{FF2B5EF4-FFF2-40B4-BE49-F238E27FC236}">
                  <a16:creationId xmlns:a16="http://schemas.microsoft.com/office/drawing/2014/main" id="{03963D6F-6E32-4B2E-A515-14BDE7EFB502}"/>
                </a:ext>
              </a:extLst>
            </p:cNvPr>
            <p:cNvSpPr/>
            <p:nvPr/>
          </p:nvSpPr>
          <p:spPr>
            <a:xfrm rot="13987919">
              <a:off x="9420561" y="3939761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81" name="Isosceles Triangle 580">
              <a:extLst>
                <a:ext uri="{FF2B5EF4-FFF2-40B4-BE49-F238E27FC236}">
                  <a16:creationId xmlns:a16="http://schemas.microsoft.com/office/drawing/2014/main" id="{2EEED887-EC3E-4959-8A0A-1993279F41C1}"/>
                </a:ext>
              </a:extLst>
            </p:cNvPr>
            <p:cNvSpPr/>
            <p:nvPr/>
          </p:nvSpPr>
          <p:spPr>
            <a:xfrm rot="14412693">
              <a:off x="9242973" y="4082416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82" name="Isosceles Triangle 581">
              <a:extLst>
                <a:ext uri="{FF2B5EF4-FFF2-40B4-BE49-F238E27FC236}">
                  <a16:creationId xmlns:a16="http://schemas.microsoft.com/office/drawing/2014/main" id="{619DE7AF-F94E-4920-B42B-E9355FD1228C}"/>
                </a:ext>
              </a:extLst>
            </p:cNvPr>
            <p:cNvSpPr/>
            <p:nvPr/>
          </p:nvSpPr>
          <p:spPr>
            <a:xfrm rot="15036362">
              <a:off x="9056689" y="4185028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83" name="Isosceles Triangle 582">
              <a:extLst>
                <a:ext uri="{FF2B5EF4-FFF2-40B4-BE49-F238E27FC236}">
                  <a16:creationId xmlns:a16="http://schemas.microsoft.com/office/drawing/2014/main" id="{7458ED13-3D12-490C-898C-6DCF97BBE587}"/>
                </a:ext>
              </a:extLst>
            </p:cNvPr>
            <p:cNvSpPr/>
            <p:nvPr/>
          </p:nvSpPr>
          <p:spPr>
            <a:xfrm rot="15653508">
              <a:off x="8846474" y="4279296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84" name="Isosceles Triangle 583">
              <a:extLst>
                <a:ext uri="{FF2B5EF4-FFF2-40B4-BE49-F238E27FC236}">
                  <a16:creationId xmlns:a16="http://schemas.microsoft.com/office/drawing/2014/main" id="{DBE78A21-0354-4928-A98F-D91BFFEB9BE5}"/>
                </a:ext>
              </a:extLst>
            </p:cNvPr>
            <p:cNvSpPr/>
            <p:nvPr/>
          </p:nvSpPr>
          <p:spPr>
            <a:xfrm rot="16200000">
              <a:off x="8636260" y="4304323"/>
              <a:ext cx="118485" cy="97184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</p:grpSp>
      <p:sp>
        <p:nvSpPr>
          <p:cNvPr id="484" name="Oval 483">
            <a:extLst>
              <a:ext uri="{FF2B5EF4-FFF2-40B4-BE49-F238E27FC236}">
                <a16:creationId xmlns:a16="http://schemas.microsoft.com/office/drawing/2014/main" id="{2551C127-D0D1-4E73-A2F5-B42A9EEA376C}"/>
              </a:ext>
            </a:extLst>
          </p:cNvPr>
          <p:cNvSpPr/>
          <p:nvPr/>
        </p:nvSpPr>
        <p:spPr>
          <a:xfrm>
            <a:off x="5514545" y="1253995"/>
            <a:ext cx="847636" cy="84805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01600" dir="21540000" sx="106000" sy="106000" algn="l" rotWithShape="0">
              <a:schemeClr val="tx2">
                <a:lumMod val="60000"/>
                <a:lumOff val="4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/>
            <a:endParaRPr lang="en-IN" dirty="0"/>
          </a:p>
        </p:txBody>
      </p:sp>
      <p:sp>
        <p:nvSpPr>
          <p:cNvPr id="494" name="Oval 493">
            <a:extLst>
              <a:ext uri="{FF2B5EF4-FFF2-40B4-BE49-F238E27FC236}">
                <a16:creationId xmlns:a16="http://schemas.microsoft.com/office/drawing/2014/main" id="{5907F742-5A65-4B79-8272-80814D4EFC56}"/>
              </a:ext>
            </a:extLst>
          </p:cNvPr>
          <p:cNvSpPr/>
          <p:nvPr/>
        </p:nvSpPr>
        <p:spPr>
          <a:xfrm>
            <a:off x="7440484" y="3049450"/>
            <a:ext cx="847636" cy="84805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01600" dir="21540000" sx="106000" sy="106000" algn="l" rotWithShape="0">
              <a:schemeClr val="tx2">
                <a:lumMod val="60000"/>
                <a:lumOff val="4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/>
            <a:endParaRPr lang="en-IN" dirty="0"/>
          </a:p>
        </p:txBody>
      </p:sp>
      <p:sp>
        <p:nvSpPr>
          <p:cNvPr id="596" name="Diploma">
            <a:extLst>
              <a:ext uri="{FF2B5EF4-FFF2-40B4-BE49-F238E27FC236}">
                <a16:creationId xmlns:a16="http://schemas.microsoft.com/office/drawing/2014/main" id="{F3DB8265-4602-40A8-82D2-4400D1B5DF4A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7575147" y="3240993"/>
            <a:ext cx="578313" cy="464964"/>
          </a:xfrm>
          <a:custGeom>
            <a:avLst/>
            <a:gdLst>
              <a:gd name="T0" fmla="*/ 108 w 592"/>
              <a:gd name="T1" fmla="*/ 278 h 490"/>
              <a:gd name="T2" fmla="*/ 108 w 592"/>
              <a:gd name="T3" fmla="*/ 386 h 490"/>
              <a:gd name="T4" fmla="*/ 293 w 592"/>
              <a:gd name="T5" fmla="*/ 489 h 490"/>
              <a:gd name="T6" fmla="*/ 483 w 592"/>
              <a:gd name="T7" fmla="*/ 386 h 490"/>
              <a:gd name="T8" fmla="*/ 483 w 592"/>
              <a:gd name="T9" fmla="*/ 278 h 490"/>
              <a:gd name="T10" fmla="*/ 293 w 592"/>
              <a:gd name="T11" fmla="*/ 381 h 490"/>
              <a:gd name="T12" fmla="*/ 108 w 592"/>
              <a:gd name="T13" fmla="*/ 278 h 490"/>
              <a:gd name="T14" fmla="*/ 293 w 592"/>
              <a:gd name="T15" fmla="*/ 0 h 490"/>
              <a:gd name="T16" fmla="*/ 0 w 592"/>
              <a:gd name="T17" fmla="*/ 165 h 490"/>
              <a:gd name="T18" fmla="*/ 293 w 592"/>
              <a:gd name="T19" fmla="*/ 324 h 490"/>
              <a:gd name="T20" fmla="*/ 535 w 592"/>
              <a:gd name="T21" fmla="*/ 196 h 490"/>
              <a:gd name="T22" fmla="*/ 535 w 592"/>
              <a:gd name="T23" fmla="*/ 381 h 490"/>
              <a:gd name="T24" fmla="*/ 591 w 592"/>
              <a:gd name="T25" fmla="*/ 381 h 490"/>
              <a:gd name="T26" fmla="*/ 591 w 592"/>
              <a:gd name="T27" fmla="*/ 165 h 490"/>
              <a:gd name="T28" fmla="*/ 293 w 592"/>
              <a:gd name="T29" fmla="*/ 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2" h="490">
                <a:moveTo>
                  <a:pt x="108" y="278"/>
                </a:moveTo>
                <a:lnTo>
                  <a:pt x="108" y="386"/>
                </a:lnTo>
                <a:lnTo>
                  <a:pt x="293" y="489"/>
                </a:lnTo>
                <a:lnTo>
                  <a:pt x="483" y="386"/>
                </a:lnTo>
                <a:lnTo>
                  <a:pt x="483" y="278"/>
                </a:lnTo>
                <a:lnTo>
                  <a:pt x="293" y="381"/>
                </a:lnTo>
                <a:lnTo>
                  <a:pt x="108" y="278"/>
                </a:lnTo>
                <a:close/>
                <a:moveTo>
                  <a:pt x="293" y="0"/>
                </a:moveTo>
                <a:lnTo>
                  <a:pt x="0" y="165"/>
                </a:lnTo>
                <a:lnTo>
                  <a:pt x="293" y="324"/>
                </a:lnTo>
                <a:lnTo>
                  <a:pt x="535" y="196"/>
                </a:lnTo>
                <a:lnTo>
                  <a:pt x="535" y="381"/>
                </a:lnTo>
                <a:lnTo>
                  <a:pt x="591" y="381"/>
                </a:lnTo>
                <a:lnTo>
                  <a:pt x="591" y="165"/>
                </a:lnTo>
                <a:lnTo>
                  <a:pt x="293" y="0"/>
                </a:lnTo>
                <a:close/>
              </a:path>
            </a:pathLst>
          </a:custGeom>
          <a:solidFill>
            <a:srgbClr val="005837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grpSp>
        <p:nvGrpSpPr>
          <p:cNvPr id="597" name="Toolbox">
            <a:extLst>
              <a:ext uri="{FF2B5EF4-FFF2-40B4-BE49-F238E27FC236}">
                <a16:creationId xmlns:a16="http://schemas.microsoft.com/office/drawing/2014/main" id="{E9818C3B-FE2F-45E1-ABD9-59EDC66FD4A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805100" y="3291025"/>
            <a:ext cx="502510" cy="376777"/>
            <a:chOff x="32" y="80"/>
            <a:chExt cx="422" cy="326"/>
          </a:xfrm>
          <a:solidFill>
            <a:srgbClr val="005837"/>
          </a:solidFill>
        </p:grpSpPr>
        <p:sp>
          <p:nvSpPr>
            <p:cNvPr id="598" name="Toolbox">
              <a:extLst>
                <a:ext uri="{FF2B5EF4-FFF2-40B4-BE49-F238E27FC236}">
                  <a16:creationId xmlns:a16="http://schemas.microsoft.com/office/drawing/2014/main" id="{883F11D8-854C-4F3C-8A81-7B7B5A3C6F39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32" y="235"/>
              <a:ext cx="422" cy="171"/>
            </a:xfrm>
            <a:custGeom>
              <a:avLst/>
              <a:gdLst>
                <a:gd name="T0" fmla="*/ 677 w 1125"/>
                <a:gd name="T1" fmla="*/ 60 h 456"/>
                <a:gd name="T2" fmla="*/ 654 w 1125"/>
                <a:gd name="T3" fmla="*/ 84 h 456"/>
                <a:gd name="T4" fmla="*/ 468 w 1125"/>
                <a:gd name="T5" fmla="*/ 84 h 456"/>
                <a:gd name="T6" fmla="*/ 445 w 1125"/>
                <a:gd name="T7" fmla="*/ 60 h 456"/>
                <a:gd name="T8" fmla="*/ 445 w 1125"/>
                <a:gd name="T9" fmla="*/ 0 h 456"/>
                <a:gd name="T10" fmla="*/ 0 w 1125"/>
                <a:gd name="T11" fmla="*/ 0 h 456"/>
                <a:gd name="T12" fmla="*/ 0 w 1125"/>
                <a:gd name="T13" fmla="*/ 385 h 456"/>
                <a:gd name="T14" fmla="*/ 70 w 1125"/>
                <a:gd name="T15" fmla="*/ 456 h 456"/>
                <a:gd name="T16" fmla="*/ 1054 w 1125"/>
                <a:gd name="T17" fmla="*/ 456 h 456"/>
                <a:gd name="T18" fmla="*/ 1125 w 1125"/>
                <a:gd name="T19" fmla="*/ 385 h 456"/>
                <a:gd name="T20" fmla="*/ 1125 w 1125"/>
                <a:gd name="T21" fmla="*/ 0 h 456"/>
                <a:gd name="T22" fmla="*/ 677 w 1125"/>
                <a:gd name="T23" fmla="*/ 0 h 456"/>
                <a:gd name="T24" fmla="*/ 677 w 1125"/>
                <a:gd name="T25" fmla="*/ 6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5" h="456">
                  <a:moveTo>
                    <a:pt x="677" y="60"/>
                  </a:moveTo>
                  <a:cubicBezTo>
                    <a:pt x="677" y="73"/>
                    <a:pt x="667" y="84"/>
                    <a:pt x="654" y="84"/>
                  </a:cubicBezTo>
                  <a:lnTo>
                    <a:pt x="468" y="84"/>
                  </a:lnTo>
                  <a:cubicBezTo>
                    <a:pt x="455" y="84"/>
                    <a:pt x="445" y="73"/>
                    <a:pt x="445" y="60"/>
                  </a:cubicBezTo>
                  <a:lnTo>
                    <a:pt x="445" y="0"/>
                  </a:lnTo>
                  <a:lnTo>
                    <a:pt x="0" y="0"/>
                  </a:lnTo>
                  <a:lnTo>
                    <a:pt x="0" y="385"/>
                  </a:lnTo>
                  <a:cubicBezTo>
                    <a:pt x="0" y="424"/>
                    <a:pt x="31" y="456"/>
                    <a:pt x="70" y="456"/>
                  </a:cubicBezTo>
                  <a:lnTo>
                    <a:pt x="1054" y="456"/>
                  </a:lnTo>
                  <a:cubicBezTo>
                    <a:pt x="1093" y="456"/>
                    <a:pt x="1125" y="424"/>
                    <a:pt x="1125" y="385"/>
                  </a:cubicBezTo>
                  <a:lnTo>
                    <a:pt x="1125" y="0"/>
                  </a:lnTo>
                  <a:lnTo>
                    <a:pt x="677" y="0"/>
                  </a:lnTo>
                  <a:lnTo>
                    <a:pt x="677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9" name="Toolbox">
              <a:extLst>
                <a:ext uri="{FF2B5EF4-FFF2-40B4-BE49-F238E27FC236}">
                  <a16:creationId xmlns:a16="http://schemas.microsoft.com/office/drawing/2014/main" id="{08B33C11-EC15-41F5-B6CD-8EFFC93655FA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34" y="241"/>
              <a:ext cx="17" cy="1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0" name="Toolbox">
              <a:extLst>
                <a:ext uri="{FF2B5EF4-FFF2-40B4-BE49-F238E27FC236}">
                  <a16:creationId xmlns:a16="http://schemas.microsoft.com/office/drawing/2014/main" id="{DDD6F414-D0B6-4531-9EDC-D94259CA4B38}"/>
                </a:ext>
              </a:extLst>
            </p:cNvPr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32" y="80"/>
              <a:ext cx="422" cy="148"/>
            </a:xfrm>
            <a:custGeom>
              <a:avLst/>
              <a:gdLst>
                <a:gd name="T0" fmla="*/ 1054 w 1125"/>
                <a:gd name="T1" fmla="*/ 170 h 392"/>
                <a:gd name="T2" fmla="*/ 818 w 1125"/>
                <a:gd name="T3" fmla="*/ 170 h 392"/>
                <a:gd name="T4" fmla="*/ 818 w 1125"/>
                <a:gd name="T5" fmla="*/ 71 h 392"/>
                <a:gd name="T6" fmla="*/ 747 w 1125"/>
                <a:gd name="T7" fmla="*/ 0 h 392"/>
                <a:gd name="T8" fmla="*/ 377 w 1125"/>
                <a:gd name="T9" fmla="*/ 0 h 392"/>
                <a:gd name="T10" fmla="*/ 306 w 1125"/>
                <a:gd name="T11" fmla="*/ 71 h 392"/>
                <a:gd name="T12" fmla="*/ 306 w 1125"/>
                <a:gd name="T13" fmla="*/ 170 h 392"/>
                <a:gd name="T14" fmla="*/ 70 w 1125"/>
                <a:gd name="T15" fmla="*/ 170 h 392"/>
                <a:gd name="T16" fmla="*/ 0 w 1125"/>
                <a:gd name="T17" fmla="*/ 241 h 392"/>
                <a:gd name="T18" fmla="*/ 0 w 1125"/>
                <a:gd name="T19" fmla="*/ 392 h 392"/>
                <a:gd name="T20" fmla="*/ 445 w 1125"/>
                <a:gd name="T21" fmla="*/ 392 h 392"/>
                <a:gd name="T22" fmla="*/ 468 w 1125"/>
                <a:gd name="T23" fmla="*/ 368 h 392"/>
                <a:gd name="T24" fmla="*/ 654 w 1125"/>
                <a:gd name="T25" fmla="*/ 368 h 392"/>
                <a:gd name="T26" fmla="*/ 677 w 1125"/>
                <a:gd name="T27" fmla="*/ 392 h 392"/>
                <a:gd name="T28" fmla="*/ 1125 w 1125"/>
                <a:gd name="T29" fmla="*/ 392 h 392"/>
                <a:gd name="T30" fmla="*/ 1125 w 1125"/>
                <a:gd name="T31" fmla="*/ 241 h 392"/>
                <a:gd name="T32" fmla="*/ 1054 w 1125"/>
                <a:gd name="T33" fmla="*/ 170 h 392"/>
                <a:gd name="T34" fmla="*/ 738 w 1125"/>
                <a:gd name="T35" fmla="*/ 170 h 392"/>
                <a:gd name="T36" fmla="*/ 386 w 1125"/>
                <a:gd name="T37" fmla="*/ 170 h 392"/>
                <a:gd name="T38" fmla="*/ 386 w 1125"/>
                <a:gd name="T39" fmla="*/ 109 h 392"/>
                <a:gd name="T40" fmla="*/ 426 w 1125"/>
                <a:gd name="T41" fmla="*/ 69 h 392"/>
                <a:gd name="T42" fmla="*/ 698 w 1125"/>
                <a:gd name="T43" fmla="*/ 69 h 392"/>
                <a:gd name="T44" fmla="*/ 738 w 1125"/>
                <a:gd name="T45" fmla="*/ 109 h 392"/>
                <a:gd name="T46" fmla="*/ 738 w 1125"/>
                <a:gd name="T47" fmla="*/ 17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5" h="392">
                  <a:moveTo>
                    <a:pt x="1054" y="170"/>
                  </a:moveTo>
                  <a:lnTo>
                    <a:pt x="818" y="170"/>
                  </a:lnTo>
                  <a:lnTo>
                    <a:pt x="818" y="71"/>
                  </a:lnTo>
                  <a:cubicBezTo>
                    <a:pt x="818" y="32"/>
                    <a:pt x="786" y="0"/>
                    <a:pt x="747" y="0"/>
                  </a:cubicBezTo>
                  <a:lnTo>
                    <a:pt x="377" y="0"/>
                  </a:lnTo>
                  <a:cubicBezTo>
                    <a:pt x="338" y="0"/>
                    <a:pt x="306" y="32"/>
                    <a:pt x="306" y="71"/>
                  </a:cubicBezTo>
                  <a:lnTo>
                    <a:pt x="306" y="170"/>
                  </a:lnTo>
                  <a:lnTo>
                    <a:pt x="70" y="170"/>
                  </a:lnTo>
                  <a:cubicBezTo>
                    <a:pt x="31" y="170"/>
                    <a:pt x="0" y="202"/>
                    <a:pt x="0" y="241"/>
                  </a:cubicBezTo>
                  <a:lnTo>
                    <a:pt x="0" y="392"/>
                  </a:lnTo>
                  <a:lnTo>
                    <a:pt x="445" y="392"/>
                  </a:lnTo>
                  <a:cubicBezTo>
                    <a:pt x="445" y="379"/>
                    <a:pt x="455" y="368"/>
                    <a:pt x="468" y="368"/>
                  </a:cubicBezTo>
                  <a:lnTo>
                    <a:pt x="654" y="368"/>
                  </a:lnTo>
                  <a:cubicBezTo>
                    <a:pt x="667" y="368"/>
                    <a:pt x="677" y="379"/>
                    <a:pt x="677" y="392"/>
                  </a:cubicBezTo>
                  <a:lnTo>
                    <a:pt x="1125" y="392"/>
                  </a:lnTo>
                  <a:lnTo>
                    <a:pt x="1125" y="241"/>
                  </a:lnTo>
                  <a:cubicBezTo>
                    <a:pt x="1125" y="202"/>
                    <a:pt x="1093" y="170"/>
                    <a:pt x="1054" y="170"/>
                  </a:cubicBezTo>
                  <a:close/>
                  <a:moveTo>
                    <a:pt x="738" y="170"/>
                  </a:moveTo>
                  <a:lnTo>
                    <a:pt x="386" y="170"/>
                  </a:lnTo>
                  <a:lnTo>
                    <a:pt x="386" y="109"/>
                  </a:lnTo>
                  <a:cubicBezTo>
                    <a:pt x="386" y="87"/>
                    <a:pt x="404" y="69"/>
                    <a:pt x="426" y="69"/>
                  </a:cubicBezTo>
                  <a:lnTo>
                    <a:pt x="698" y="69"/>
                  </a:lnTo>
                  <a:cubicBezTo>
                    <a:pt x="720" y="69"/>
                    <a:pt x="738" y="87"/>
                    <a:pt x="738" y="109"/>
                  </a:cubicBezTo>
                  <a:lnTo>
                    <a:pt x="738" y="17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17" name="Group 616">
            <a:extLst>
              <a:ext uri="{FF2B5EF4-FFF2-40B4-BE49-F238E27FC236}">
                <a16:creationId xmlns:a16="http://schemas.microsoft.com/office/drawing/2014/main" id="{336BD1A5-B09B-44B1-95E1-C83B391ADA61}"/>
              </a:ext>
            </a:extLst>
          </p:cNvPr>
          <p:cNvGrpSpPr/>
          <p:nvPr/>
        </p:nvGrpSpPr>
        <p:grpSpPr>
          <a:xfrm>
            <a:off x="5601120" y="3281932"/>
            <a:ext cx="651931" cy="431942"/>
            <a:chOff x="6391276" y="2988516"/>
            <a:chExt cx="795338" cy="542925"/>
          </a:xfrm>
          <a:solidFill>
            <a:srgbClr val="005837"/>
          </a:solidFill>
        </p:grpSpPr>
        <p:sp>
          <p:nvSpPr>
            <p:cNvPr id="614" name="Freeform 39">
              <a:extLst>
                <a:ext uri="{FF2B5EF4-FFF2-40B4-BE49-F238E27FC236}">
                  <a16:creationId xmlns:a16="http://schemas.microsoft.com/office/drawing/2014/main" id="{4B4D21AB-4C98-4CA5-B6D5-8D7DC71430F7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09920" y="2988516"/>
              <a:ext cx="180672" cy="542925"/>
            </a:xfrm>
            <a:custGeom>
              <a:avLst/>
              <a:gdLst>
                <a:gd name="T0" fmla="*/ 134 w 200"/>
                <a:gd name="T1" fmla="*/ 0 h 600"/>
                <a:gd name="T2" fmla="*/ 67 w 200"/>
                <a:gd name="T3" fmla="*/ 0 h 600"/>
                <a:gd name="T4" fmla="*/ 0 w 200"/>
                <a:gd name="T5" fmla="*/ 67 h 600"/>
                <a:gd name="T6" fmla="*/ 0 w 200"/>
                <a:gd name="T7" fmla="*/ 600 h 600"/>
                <a:gd name="T8" fmla="*/ 200 w 200"/>
                <a:gd name="T9" fmla="*/ 600 h 600"/>
                <a:gd name="T10" fmla="*/ 200 w 200"/>
                <a:gd name="T11" fmla="*/ 67 h 600"/>
                <a:gd name="T12" fmla="*/ 134 w 200"/>
                <a:gd name="T13" fmla="*/ 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600">
                  <a:moveTo>
                    <a:pt x="134" y="0"/>
                  </a:moveTo>
                  <a:lnTo>
                    <a:pt x="67" y="0"/>
                  </a:lnTo>
                  <a:cubicBezTo>
                    <a:pt x="30" y="0"/>
                    <a:pt x="0" y="30"/>
                    <a:pt x="0" y="67"/>
                  </a:cubicBezTo>
                  <a:lnTo>
                    <a:pt x="0" y="600"/>
                  </a:lnTo>
                  <a:lnTo>
                    <a:pt x="200" y="600"/>
                  </a:lnTo>
                  <a:lnTo>
                    <a:pt x="200" y="67"/>
                  </a:lnTo>
                  <a:cubicBezTo>
                    <a:pt x="200" y="30"/>
                    <a:pt x="170" y="0"/>
                    <a:pt x="134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5" name="Freeform 39">
              <a:extLst>
                <a:ext uri="{FF2B5EF4-FFF2-40B4-BE49-F238E27FC236}">
                  <a16:creationId xmlns:a16="http://schemas.microsoft.com/office/drawing/2014/main" id="{0B8F6E35-C37D-476C-8C06-C23FCBF4F67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74085" y="3188748"/>
              <a:ext cx="180672" cy="342693"/>
            </a:xfrm>
            <a:custGeom>
              <a:avLst/>
              <a:gdLst>
                <a:gd name="T0" fmla="*/ 134 w 200"/>
                <a:gd name="T1" fmla="*/ 0 h 600"/>
                <a:gd name="T2" fmla="*/ 67 w 200"/>
                <a:gd name="T3" fmla="*/ 0 h 600"/>
                <a:gd name="T4" fmla="*/ 0 w 200"/>
                <a:gd name="T5" fmla="*/ 67 h 600"/>
                <a:gd name="T6" fmla="*/ 0 w 200"/>
                <a:gd name="T7" fmla="*/ 600 h 600"/>
                <a:gd name="T8" fmla="*/ 200 w 200"/>
                <a:gd name="T9" fmla="*/ 600 h 600"/>
                <a:gd name="T10" fmla="*/ 200 w 200"/>
                <a:gd name="T11" fmla="*/ 67 h 600"/>
                <a:gd name="T12" fmla="*/ 134 w 200"/>
                <a:gd name="T13" fmla="*/ 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600">
                  <a:moveTo>
                    <a:pt x="134" y="0"/>
                  </a:moveTo>
                  <a:lnTo>
                    <a:pt x="67" y="0"/>
                  </a:lnTo>
                  <a:cubicBezTo>
                    <a:pt x="30" y="0"/>
                    <a:pt x="0" y="30"/>
                    <a:pt x="0" y="67"/>
                  </a:cubicBezTo>
                  <a:lnTo>
                    <a:pt x="0" y="600"/>
                  </a:lnTo>
                  <a:lnTo>
                    <a:pt x="200" y="600"/>
                  </a:lnTo>
                  <a:lnTo>
                    <a:pt x="200" y="67"/>
                  </a:lnTo>
                  <a:cubicBezTo>
                    <a:pt x="200" y="30"/>
                    <a:pt x="170" y="0"/>
                    <a:pt x="134" y="0"/>
                  </a:cubicBezTo>
                  <a:close/>
                </a:path>
              </a:pathLst>
            </a:custGeom>
            <a:grpFill/>
            <a:ln w="9525">
              <a:solidFill>
                <a:srgbClr val="00583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6" name="Freeform 39">
              <a:extLst>
                <a:ext uri="{FF2B5EF4-FFF2-40B4-BE49-F238E27FC236}">
                  <a16:creationId xmlns:a16="http://schemas.microsoft.com/office/drawing/2014/main" id="{5F7C6F1F-BBF1-4E9D-9073-0C5EC0822DF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38250" y="3281363"/>
              <a:ext cx="180672" cy="250078"/>
            </a:xfrm>
            <a:custGeom>
              <a:avLst/>
              <a:gdLst>
                <a:gd name="T0" fmla="*/ 134 w 200"/>
                <a:gd name="T1" fmla="*/ 0 h 600"/>
                <a:gd name="T2" fmla="*/ 67 w 200"/>
                <a:gd name="T3" fmla="*/ 0 h 600"/>
                <a:gd name="T4" fmla="*/ 0 w 200"/>
                <a:gd name="T5" fmla="*/ 67 h 600"/>
                <a:gd name="T6" fmla="*/ 0 w 200"/>
                <a:gd name="T7" fmla="*/ 600 h 600"/>
                <a:gd name="T8" fmla="*/ 200 w 200"/>
                <a:gd name="T9" fmla="*/ 600 h 600"/>
                <a:gd name="T10" fmla="*/ 200 w 200"/>
                <a:gd name="T11" fmla="*/ 67 h 600"/>
                <a:gd name="T12" fmla="*/ 134 w 200"/>
                <a:gd name="T13" fmla="*/ 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600">
                  <a:moveTo>
                    <a:pt x="134" y="0"/>
                  </a:moveTo>
                  <a:lnTo>
                    <a:pt x="67" y="0"/>
                  </a:lnTo>
                  <a:cubicBezTo>
                    <a:pt x="30" y="0"/>
                    <a:pt x="0" y="30"/>
                    <a:pt x="0" y="67"/>
                  </a:cubicBezTo>
                  <a:lnTo>
                    <a:pt x="0" y="600"/>
                  </a:lnTo>
                  <a:lnTo>
                    <a:pt x="200" y="600"/>
                  </a:lnTo>
                  <a:lnTo>
                    <a:pt x="200" y="67"/>
                  </a:lnTo>
                  <a:cubicBezTo>
                    <a:pt x="200" y="30"/>
                    <a:pt x="170" y="0"/>
                    <a:pt x="134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77DE6558-A047-4DBE-A0B4-B914D778B2CB}"/>
                </a:ext>
              </a:extLst>
            </p:cNvPr>
            <p:cNvSpPr/>
            <p:nvPr/>
          </p:nvSpPr>
          <p:spPr>
            <a:xfrm>
              <a:off x="6391276" y="3112294"/>
              <a:ext cx="795338" cy="323850"/>
            </a:xfrm>
            <a:custGeom>
              <a:avLst/>
              <a:gdLst>
                <a:gd name="connsiteX0" fmla="*/ 0 w 728663"/>
                <a:gd name="connsiteY0" fmla="*/ 352425 h 419100"/>
                <a:gd name="connsiteX1" fmla="*/ 195263 w 728663"/>
                <a:gd name="connsiteY1" fmla="*/ 419100 h 419100"/>
                <a:gd name="connsiteX2" fmla="*/ 409575 w 728663"/>
                <a:gd name="connsiteY2" fmla="*/ 261938 h 419100"/>
                <a:gd name="connsiteX3" fmla="*/ 647700 w 728663"/>
                <a:gd name="connsiteY3" fmla="*/ 200025 h 419100"/>
                <a:gd name="connsiteX4" fmla="*/ 728663 w 728663"/>
                <a:gd name="connsiteY4" fmla="*/ 0 h 419100"/>
                <a:gd name="connsiteX0" fmla="*/ 0 w 795338"/>
                <a:gd name="connsiteY0" fmla="*/ 298694 h 365369"/>
                <a:gd name="connsiteX1" fmla="*/ 195263 w 795338"/>
                <a:gd name="connsiteY1" fmla="*/ 365369 h 365369"/>
                <a:gd name="connsiteX2" fmla="*/ 409575 w 795338"/>
                <a:gd name="connsiteY2" fmla="*/ 208207 h 365369"/>
                <a:gd name="connsiteX3" fmla="*/ 647700 w 795338"/>
                <a:gd name="connsiteY3" fmla="*/ 146294 h 365369"/>
                <a:gd name="connsiteX4" fmla="*/ 795338 w 795338"/>
                <a:gd name="connsiteY4" fmla="*/ 0 h 365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5338" h="365369">
                  <a:moveTo>
                    <a:pt x="0" y="298694"/>
                  </a:moveTo>
                  <a:lnTo>
                    <a:pt x="195263" y="365369"/>
                  </a:lnTo>
                  <a:lnTo>
                    <a:pt x="409575" y="208207"/>
                  </a:lnTo>
                  <a:lnTo>
                    <a:pt x="647700" y="146294"/>
                  </a:lnTo>
                  <a:lnTo>
                    <a:pt x="795338" y="0"/>
                  </a:lnTo>
                </a:path>
              </a:pathLst>
            </a:custGeom>
            <a:grpFill/>
            <a:ln w="12700">
              <a:solidFill>
                <a:schemeClr val="tx1">
                  <a:lumMod val="65000"/>
                  <a:lumOff val="35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</p:grpSp>
      <p:grpSp>
        <p:nvGrpSpPr>
          <p:cNvPr id="631" name="Group 630">
            <a:extLst>
              <a:ext uri="{FF2B5EF4-FFF2-40B4-BE49-F238E27FC236}">
                <a16:creationId xmlns:a16="http://schemas.microsoft.com/office/drawing/2014/main" id="{4FD28559-D1E5-479C-8070-E793797DF41F}"/>
              </a:ext>
            </a:extLst>
          </p:cNvPr>
          <p:cNvGrpSpPr/>
          <p:nvPr/>
        </p:nvGrpSpPr>
        <p:grpSpPr>
          <a:xfrm>
            <a:off x="3636724" y="4963656"/>
            <a:ext cx="847636" cy="848053"/>
            <a:chOff x="3920848" y="4975391"/>
            <a:chExt cx="932400" cy="932858"/>
          </a:xfrm>
          <a:solidFill>
            <a:srgbClr val="005837"/>
          </a:solidFill>
        </p:grpSpPr>
        <p:sp>
          <p:nvSpPr>
            <p:cNvPr id="511" name="Oval 510">
              <a:extLst>
                <a:ext uri="{FF2B5EF4-FFF2-40B4-BE49-F238E27FC236}">
                  <a16:creationId xmlns:a16="http://schemas.microsoft.com/office/drawing/2014/main" id="{DA5B6F06-841F-498F-830B-757F8580A624}"/>
                </a:ext>
              </a:extLst>
            </p:cNvPr>
            <p:cNvSpPr/>
            <p:nvPr/>
          </p:nvSpPr>
          <p:spPr>
            <a:xfrm>
              <a:off x="3920848" y="4975391"/>
              <a:ext cx="932400" cy="9328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dir="21540000" sx="106000" sy="106000" algn="l" rotWithShape="0">
                <a:schemeClr val="tx2">
                  <a:lumMod val="60000"/>
                  <a:lumOff val="4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1"/>
            <a:lstStyle/>
            <a:p>
              <a:pPr algn="ctr"/>
              <a:endParaRPr lang="en-IN" dirty="0"/>
            </a:p>
          </p:txBody>
        </p:sp>
        <p:sp>
          <p:nvSpPr>
            <p:cNvPr id="618" name="Gear2">
              <a:extLst>
                <a:ext uri="{FF2B5EF4-FFF2-40B4-BE49-F238E27FC236}">
                  <a16:creationId xmlns:a16="http://schemas.microsoft.com/office/drawing/2014/main" id="{56081499-6AB5-4865-B975-077585B1C54B}"/>
                </a:ext>
              </a:extLst>
            </p:cNvPr>
            <p:cNvSpPr>
              <a:spLocks noChangeAspect="1"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4124132" y="5186090"/>
              <a:ext cx="525832" cy="511460"/>
            </a:xfrm>
            <a:custGeom>
              <a:avLst/>
              <a:gdLst>
                <a:gd name="T0" fmla="*/ 500 w 1150"/>
                <a:gd name="T1" fmla="*/ 0 h 1150"/>
                <a:gd name="T2" fmla="*/ 475 w 1150"/>
                <a:gd name="T3" fmla="*/ 25 h 1150"/>
                <a:gd name="T4" fmla="*/ 475 w 1150"/>
                <a:gd name="T5" fmla="*/ 150 h 1150"/>
                <a:gd name="T6" fmla="*/ 345 w 1150"/>
                <a:gd name="T7" fmla="*/ 204 h 1150"/>
                <a:gd name="T8" fmla="*/ 257 w 1150"/>
                <a:gd name="T9" fmla="*/ 115 h 1150"/>
                <a:gd name="T10" fmla="*/ 221 w 1150"/>
                <a:gd name="T11" fmla="*/ 115 h 1150"/>
                <a:gd name="T12" fmla="*/ 115 w 1150"/>
                <a:gd name="T13" fmla="*/ 221 h 1150"/>
                <a:gd name="T14" fmla="*/ 115 w 1150"/>
                <a:gd name="T15" fmla="*/ 257 h 1150"/>
                <a:gd name="T16" fmla="*/ 203 w 1150"/>
                <a:gd name="T17" fmla="*/ 345 h 1150"/>
                <a:gd name="T18" fmla="*/ 150 w 1150"/>
                <a:gd name="T19" fmla="*/ 475 h 1150"/>
                <a:gd name="T20" fmla="*/ 25 w 1150"/>
                <a:gd name="T21" fmla="*/ 475 h 1150"/>
                <a:gd name="T22" fmla="*/ 0 w 1150"/>
                <a:gd name="T23" fmla="*/ 500 h 1150"/>
                <a:gd name="T24" fmla="*/ 0 w 1150"/>
                <a:gd name="T25" fmla="*/ 650 h 1150"/>
                <a:gd name="T26" fmla="*/ 25 w 1150"/>
                <a:gd name="T27" fmla="*/ 675 h 1150"/>
                <a:gd name="T28" fmla="*/ 150 w 1150"/>
                <a:gd name="T29" fmla="*/ 675 h 1150"/>
                <a:gd name="T30" fmla="*/ 204 w 1150"/>
                <a:gd name="T31" fmla="*/ 805 h 1150"/>
                <a:gd name="T32" fmla="*/ 115 w 1150"/>
                <a:gd name="T33" fmla="*/ 893 h 1150"/>
                <a:gd name="T34" fmla="*/ 115 w 1150"/>
                <a:gd name="T35" fmla="*/ 929 h 1150"/>
                <a:gd name="T36" fmla="*/ 221 w 1150"/>
                <a:gd name="T37" fmla="*/ 1035 h 1150"/>
                <a:gd name="T38" fmla="*/ 257 w 1150"/>
                <a:gd name="T39" fmla="*/ 1035 h 1150"/>
                <a:gd name="T40" fmla="*/ 345 w 1150"/>
                <a:gd name="T41" fmla="*/ 947 h 1150"/>
                <a:gd name="T42" fmla="*/ 475 w 1150"/>
                <a:gd name="T43" fmla="*/ 1000 h 1150"/>
                <a:gd name="T44" fmla="*/ 475 w 1150"/>
                <a:gd name="T45" fmla="*/ 1125 h 1150"/>
                <a:gd name="T46" fmla="*/ 500 w 1150"/>
                <a:gd name="T47" fmla="*/ 1150 h 1150"/>
                <a:gd name="T48" fmla="*/ 650 w 1150"/>
                <a:gd name="T49" fmla="*/ 1150 h 1150"/>
                <a:gd name="T50" fmla="*/ 675 w 1150"/>
                <a:gd name="T51" fmla="*/ 1125 h 1150"/>
                <a:gd name="T52" fmla="*/ 675 w 1150"/>
                <a:gd name="T53" fmla="*/ 1000 h 1150"/>
                <a:gd name="T54" fmla="*/ 805 w 1150"/>
                <a:gd name="T55" fmla="*/ 946 h 1150"/>
                <a:gd name="T56" fmla="*/ 893 w 1150"/>
                <a:gd name="T57" fmla="*/ 1035 h 1150"/>
                <a:gd name="T58" fmla="*/ 929 w 1150"/>
                <a:gd name="T59" fmla="*/ 1035 h 1150"/>
                <a:gd name="T60" fmla="*/ 1035 w 1150"/>
                <a:gd name="T61" fmla="*/ 929 h 1150"/>
                <a:gd name="T62" fmla="*/ 1035 w 1150"/>
                <a:gd name="T63" fmla="*/ 893 h 1150"/>
                <a:gd name="T64" fmla="*/ 947 w 1150"/>
                <a:gd name="T65" fmla="*/ 805 h 1150"/>
                <a:gd name="T66" fmla="*/ 1001 w 1150"/>
                <a:gd name="T67" fmla="*/ 675 h 1150"/>
                <a:gd name="T68" fmla="*/ 1125 w 1150"/>
                <a:gd name="T69" fmla="*/ 675 h 1150"/>
                <a:gd name="T70" fmla="*/ 1150 w 1150"/>
                <a:gd name="T71" fmla="*/ 650 h 1150"/>
                <a:gd name="T72" fmla="*/ 1150 w 1150"/>
                <a:gd name="T73" fmla="*/ 500 h 1150"/>
                <a:gd name="T74" fmla="*/ 1125 w 1150"/>
                <a:gd name="T75" fmla="*/ 475 h 1150"/>
                <a:gd name="T76" fmla="*/ 1001 w 1150"/>
                <a:gd name="T77" fmla="*/ 475 h 1150"/>
                <a:gd name="T78" fmla="*/ 947 w 1150"/>
                <a:gd name="T79" fmla="*/ 345 h 1150"/>
                <a:gd name="T80" fmla="*/ 1035 w 1150"/>
                <a:gd name="T81" fmla="*/ 257 h 1150"/>
                <a:gd name="T82" fmla="*/ 1035 w 1150"/>
                <a:gd name="T83" fmla="*/ 221 h 1150"/>
                <a:gd name="T84" fmla="*/ 929 w 1150"/>
                <a:gd name="T85" fmla="*/ 115 h 1150"/>
                <a:gd name="T86" fmla="*/ 893 w 1150"/>
                <a:gd name="T87" fmla="*/ 115 h 1150"/>
                <a:gd name="T88" fmla="*/ 805 w 1150"/>
                <a:gd name="T89" fmla="*/ 203 h 1150"/>
                <a:gd name="T90" fmla="*/ 675 w 1150"/>
                <a:gd name="T91" fmla="*/ 150 h 1150"/>
                <a:gd name="T92" fmla="*/ 675 w 1150"/>
                <a:gd name="T93" fmla="*/ 25 h 1150"/>
                <a:gd name="T94" fmla="*/ 650 w 1150"/>
                <a:gd name="T95" fmla="*/ 0 h 1150"/>
                <a:gd name="T96" fmla="*/ 500 w 1150"/>
                <a:gd name="T97" fmla="*/ 0 h 1150"/>
                <a:gd name="T98" fmla="*/ 577 w 1150"/>
                <a:gd name="T99" fmla="*/ 413 h 1150"/>
                <a:gd name="T100" fmla="*/ 690 w 1150"/>
                <a:gd name="T101" fmla="*/ 460 h 1150"/>
                <a:gd name="T102" fmla="*/ 690 w 1150"/>
                <a:gd name="T103" fmla="*/ 690 h 1150"/>
                <a:gd name="T104" fmla="*/ 460 w 1150"/>
                <a:gd name="T105" fmla="*/ 690 h 1150"/>
                <a:gd name="T106" fmla="*/ 460 w 1150"/>
                <a:gd name="T107" fmla="*/ 460 h 1150"/>
                <a:gd name="T108" fmla="*/ 577 w 1150"/>
                <a:gd name="T109" fmla="*/ 413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0" h="1150">
                  <a:moveTo>
                    <a:pt x="500" y="0"/>
                  </a:moveTo>
                  <a:cubicBezTo>
                    <a:pt x="486" y="0"/>
                    <a:pt x="475" y="11"/>
                    <a:pt x="475" y="25"/>
                  </a:cubicBezTo>
                  <a:lnTo>
                    <a:pt x="475" y="150"/>
                  </a:lnTo>
                  <a:cubicBezTo>
                    <a:pt x="429" y="160"/>
                    <a:pt x="385" y="179"/>
                    <a:pt x="345" y="204"/>
                  </a:cubicBezTo>
                  <a:lnTo>
                    <a:pt x="257" y="115"/>
                  </a:lnTo>
                  <a:cubicBezTo>
                    <a:pt x="247" y="106"/>
                    <a:pt x="231" y="106"/>
                    <a:pt x="221" y="115"/>
                  </a:cubicBezTo>
                  <a:lnTo>
                    <a:pt x="115" y="221"/>
                  </a:lnTo>
                  <a:cubicBezTo>
                    <a:pt x="106" y="231"/>
                    <a:pt x="106" y="247"/>
                    <a:pt x="115" y="257"/>
                  </a:cubicBezTo>
                  <a:lnTo>
                    <a:pt x="203" y="345"/>
                  </a:lnTo>
                  <a:cubicBezTo>
                    <a:pt x="179" y="385"/>
                    <a:pt x="160" y="429"/>
                    <a:pt x="150" y="475"/>
                  </a:cubicBezTo>
                  <a:lnTo>
                    <a:pt x="25" y="475"/>
                  </a:lnTo>
                  <a:cubicBezTo>
                    <a:pt x="11" y="475"/>
                    <a:pt x="0" y="486"/>
                    <a:pt x="0" y="500"/>
                  </a:cubicBezTo>
                  <a:lnTo>
                    <a:pt x="0" y="650"/>
                  </a:lnTo>
                  <a:cubicBezTo>
                    <a:pt x="0" y="664"/>
                    <a:pt x="11" y="675"/>
                    <a:pt x="25" y="675"/>
                  </a:cubicBezTo>
                  <a:lnTo>
                    <a:pt x="150" y="675"/>
                  </a:lnTo>
                  <a:cubicBezTo>
                    <a:pt x="160" y="721"/>
                    <a:pt x="179" y="765"/>
                    <a:pt x="204" y="805"/>
                  </a:cubicBezTo>
                  <a:lnTo>
                    <a:pt x="115" y="893"/>
                  </a:lnTo>
                  <a:cubicBezTo>
                    <a:pt x="106" y="903"/>
                    <a:pt x="106" y="919"/>
                    <a:pt x="115" y="929"/>
                  </a:cubicBezTo>
                  <a:lnTo>
                    <a:pt x="221" y="1035"/>
                  </a:lnTo>
                  <a:cubicBezTo>
                    <a:pt x="231" y="1044"/>
                    <a:pt x="247" y="1044"/>
                    <a:pt x="257" y="1035"/>
                  </a:cubicBezTo>
                  <a:lnTo>
                    <a:pt x="345" y="947"/>
                  </a:lnTo>
                  <a:cubicBezTo>
                    <a:pt x="385" y="971"/>
                    <a:pt x="429" y="990"/>
                    <a:pt x="475" y="1000"/>
                  </a:cubicBezTo>
                  <a:lnTo>
                    <a:pt x="475" y="1125"/>
                  </a:lnTo>
                  <a:cubicBezTo>
                    <a:pt x="475" y="1139"/>
                    <a:pt x="486" y="1150"/>
                    <a:pt x="500" y="1150"/>
                  </a:cubicBezTo>
                  <a:lnTo>
                    <a:pt x="650" y="1150"/>
                  </a:lnTo>
                  <a:cubicBezTo>
                    <a:pt x="664" y="1150"/>
                    <a:pt x="675" y="1139"/>
                    <a:pt x="675" y="1125"/>
                  </a:cubicBezTo>
                  <a:lnTo>
                    <a:pt x="675" y="1000"/>
                  </a:lnTo>
                  <a:cubicBezTo>
                    <a:pt x="721" y="990"/>
                    <a:pt x="765" y="971"/>
                    <a:pt x="805" y="946"/>
                  </a:cubicBezTo>
                  <a:lnTo>
                    <a:pt x="893" y="1035"/>
                  </a:lnTo>
                  <a:cubicBezTo>
                    <a:pt x="903" y="1044"/>
                    <a:pt x="919" y="1044"/>
                    <a:pt x="929" y="1035"/>
                  </a:cubicBezTo>
                  <a:lnTo>
                    <a:pt x="1035" y="929"/>
                  </a:lnTo>
                  <a:cubicBezTo>
                    <a:pt x="1044" y="919"/>
                    <a:pt x="1044" y="903"/>
                    <a:pt x="1035" y="893"/>
                  </a:cubicBezTo>
                  <a:lnTo>
                    <a:pt x="947" y="805"/>
                  </a:lnTo>
                  <a:cubicBezTo>
                    <a:pt x="971" y="765"/>
                    <a:pt x="990" y="721"/>
                    <a:pt x="1001" y="675"/>
                  </a:cubicBezTo>
                  <a:lnTo>
                    <a:pt x="1125" y="675"/>
                  </a:lnTo>
                  <a:cubicBezTo>
                    <a:pt x="1139" y="675"/>
                    <a:pt x="1150" y="664"/>
                    <a:pt x="1150" y="650"/>
                  </a:cubicBezTo>
                  <a:lnTo>
                    <a:pt x="1150" y="500"/>
                  </a:lnTo>
                  <a:cubicBezTo>
                    <a:pt x="1150" y="486"/>
                    <a:pt x="1139" y="475"/>
                    <a:pt x="1125" y="475"/>
                  </a:cubicBezTo>
                  <a:lnTo>
                    <a:pt x="1001" y="475"/>
                  </a:lnTo>
                  <a:cubicBezTo>
                    <a:pt x="990" y="429"/>
                    <a:pt x="971" y="385"/>
                    <a:pt x="947" y="345"/>
                  </a:cubicBezTo>
                  <a:lnTo>
                    <a:pt x="1035" y="257"/>
                  </a:lnTo>
                  <a:cubicBezTo>
                    <a:pt x="1044" y="247"/>
                    <a:pt x="1044" y="231"/>
                    <a:pt x="1035" y="221"/>
                  </a:cubicBezTo>
                  <a:lnTo>
                    <a:pt x="929" y="115"/>
                  </a:lnTo>
                  <a:cubicBezTo>
                    <a:pt x="919" y="106"/>
                    <a:pt x="903" y="106"/>
                    <a:pt x="893" y="115"/>
                  </a:cubicBezTo>
                  <a:lnTo>
                    <a:pt x="805" y="203"/>
                  </a:lnTo>
                  <a:cubicBezTo>
                    <a:pt x="765" y="179"/>
                    <a:pt x="721" y="160"/>
                    <a:pt x="675" y="150"/>
                  </a:cubicBezTo>
                  <a:lnTo>
                    <a:pt x="675" y="25"/>
                  </a:lnTo>
                  <a:cubicBezTo>
                    <a:pt x="675" y="11"/>
                    <a:pt x="664" y="0"/>
                    <a:pt x="650" y="0"/>
                  </a:cubicBezTo>
                  <a:lnTo>
                    <a:pt x="500" y="0"/>
                  </a:lnTo>
                  <a:moveTo>
                    <a:pt x="577" y="413"/>
                  </a:moveTo>
                  <a:cubicBezTo>
                    <a:pt x="620" y="413"/>
                    <a:pt x="660" y="430"/>
                    <a:pt x="690" y="460"/>
                  </a:cubicBezTo>
                  <a:cubicBezTo>
                    <a:pt x="753" y="524"/>
                    <a:pt x="753" y="626"/>
                    <a:pt x="690" y="690"/>
                  </a:cubicBezTo>
                  <a:cubicBezTo>
                    <a:pt x="626" y="753"/>
                    <a:pt x="524" y="753"/>
                    <a:pt x="460" y="690"/>
                  </a:cubicBezTo>
                  <a:cubicBezTo>
                    <a:pt x="397" y="626"/>
                    <a:pt x="397" y="524"/>
                    <a:pt x="460" y="460"/>
                  </a:cubicBezTo>
                  <a:cubicBezTo>
                    <a:pt x="491" y="429"/>
                    <a:pt x="533" y="412"/>
                    <a:pt x="577" y="413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30" name="Group 629">
            <a:extLst>
              <a:ext uri="{FF2B5EF4-FFF2-40B4-BE49-F238E27FC236}">
                <a16:creationId xmlns:a16="http://schemas.microsoft.com/office/drawing/2014/main" id="{DDB8A5FC-69EA-407A-958C-FE12D2982053}"/>
              </a:ext>
            </a:extLst>
          </p:cNvPr>
          <p:cNvGrpSpPr/>
          <p:nvPr/>
        </p:nvGrpSpPr>
        <p:grpSpPr>
          <a:xfrm>
            <a:off x="5514545" y="4951466"/>
            <a:ext cx="847636" cy="848053"/>
            <a:chOff x="7492116" y="4975391"/>
            <a:chExt cx="932400" cy="932858"/>
          </a:xfrm>
          <a:solidFill>
            <a:srgbClr val="005837"/>
          </a:solidFill>
        </p:grpSpPr>
        <p:sp>
          <p:nvSpPr>
            <p:cNvPr id="517" name="Oval 516">
              <a:extLst>
                <a:ext uri="{FF2B5EF4-FFF2-40B4-BE49-F238E27FC236}">
                  <a16:creationId xmlns:a16="http://schemas.microsoft.com/office/drawing/2014/main" id="{86A18C15-5549-4E60-9574-87F45B0C238C}"/>
                </a:ext>
              </a:extLst>
            </p:cNvPr>
            <p:cNvSpPr/>
            <p:nvPr/>
          </p:nvSpPr>
          <p:spPr>
            <a:xfrm>
              <a:off x="7492116" y="4975391"/>
              <a:ext cx="932400" cy="9328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dir="21540000" sx="106000" sy="106000" algn="l" rotWithShape="0">
                <a:schemeClr val="tx2">
                  <a:lumMod val="60000"/>
                  <a:lumOff val="4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 anchorCtr="1"/>
            <a:lstStyle/>
            <a:p>
              <a:pPr algn="ctr"/>
              <a:endParaRPr lang="en-IN" dirty="0"/>
            </a:p>
          </p:txBody>
        </p:sp>
        <p:sp>
          <p:nvSpPr>
            <p:cNvPr id="622" name="Freeform 404">
              <a:extLst>
                <a:ext uri="{FF2B5EF4-FFF2-40B4-BE49-F238E27FC236}">
                  <a16:creationId xmlns:a16="http://schemas.microsoft.com/office/drawing/2014/main" id="{74A0C3DF-17B6-4BFA-8D85-DB57BFA5E4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5490" y="5118027"/>
              <a:ext cx="605652" cy="647586"/>
            </a:xfrm>
            <a:custGeom>
              <a:avLst/>
              <a:gdLst>
                <a:gd name="T0" fmla="*/ 949 w 2589"/>
                <a:gd name="T1" fmla="*/ 2674 h 2823"/>
                <a:gd name="T2" fmla="*/ 468 w 2589"/>
                <a:gd name="T3" fmla="*/ 2607 h 2823"/>
                <a:gd name="T4" fmla="*/ 6 w 2589"/>
                <a:gd name="T5" fmla="*/ 2441 h 2823"/>
                <a:gd name="T6" fmla="*/ 6 w 2589"/>
                <a:gd name="T7" fmla="*/ 1223 h 2823"/>
                <a:gd name="T8" fmla="*/ 415 w 2589"/>
                <a:gd name="T9" fmla="*/ 1094 h 2823"/>
                <a:gd name="T10" fmla="*/ 1102 w 2589"/>
                <a:gd name="T11" fmla="*/ 590 h 2823"/>
                <a:gd name="T12" fmla="*/ 1362 w 2589"/>
                <a:gd name="T13" fmla="*/ 35 h 2823"/>
                <a:gd name="T14" fmla="*/ 1902 w 2589"/>
                <a:gd name="T15" fmla="*/ 281 h 2823"/>
                <a:gd name="T16" fmla="*/ 1897 w 2589"/>
                <a:gd name="T17" fmla="*/ 785 h 2823"/>
                <a:gd name="T18" fmla="*/ 2004 w 2589"/>
                <a:gd name="T19" fmla="*/ 869 h 2823"/>
                <a:gd name="T20" fmla="*/ 2584 w 2589"/>
                <a:gd name="T21" fmla="*/ 1282 h 2823"/>
                <a:gd name="T22" fmla="*/ 2523 w 2589"/>
                <a:gd name="T23" fmla="*/ 1551 h 2823"/>
                <a:gd name="T24" fmla="*/ 2496 w 2589"/>
                <a:gd name="T25" fmla="*/ 1844 h 2823"/>
                <a:gd name="T26" fmla="*/ 2408 w 2589"/>
                <a:gd name="T27" fmla="*/ 2237 h 2823"/>
                <a:gd name="T28" fmla="*/ 1978 w 2589"/>
                <a:gd name="T29" fmla="*/ 2801 h 2823"/>
                <a:gd name="T30" fmla="*/ 2001 w 2589"/>
                <a:gd name="T31" fmla="*/ 2573 h 2823"/>
                <a:gd name="T32" fmla="*/ 2182 w 2589"/>
                <a:gd name="T33" fmla="*/ 2189 h 2823"/>
                <a:gd name="T34" fmla="*/ 2254 w 2589"/>
                <a:gd name="T35" fmla="*/ 1856 h 2823"/>
                <a:gd name="T36" fmla="*/ 2280 w 2589"/>
                <a:gd name="T37" fmla="*/ 1512 h 2823"/>
                <a:gd name="T38" fmla="*/ 2270 w 2589"/>
                <a:gd name="T39" fmla="*/ 1122 h 2823"/>
                <a:gd name="T40" fmla="*/ 1892 w 2589"/>
                <a:gd name="T41" fmla="*/ 1084 h 2823"/>
                <a:gd name="T42" fmla="*/ 1571 w 2589"/>
                <a:gd name="T43" fmla="*/ 1040 h 2823"/>
                <a:gd name="T44" fmla="*/ 1718 w 2589"/>
                <a:gd name="T45" fmla="*/ 519 h 2823"/>
                <a:gd name="T46" fmla="*/ 1516 w 2589"/>
                <a:gd name="T47" fmla="*/ 225 h 2823"/>
                <a:gd name="T48" fmla="*/ 1427 w 2589"/>
                <a:gd name="T49" fmla="*/ 265 h 2823"/>
                <a:gd name="T50" fmla="*/ 1237 w 2589"/>
                <a:gd name="T51" fmla="*/ 763 h 2823"/>
                <a:gd name="T52" fmla="*/ 675 w 2589"/>
                <a:gd name="T53" fmla="*/ 1307 h 2823"/>
                <a:gd name="T54" fmla="*/ 640 w 2589"/>
                <a:gd name="T55" fmla="*/ 1847 h 2823"/>
                <a:gd name="T56" fmla="*/ 731 w 2589"/>
                <a:gd name="T57" fmla="*/ 2396 h 2823"/>
                <a:gd name="T58" fmla="*/ 1473 w 2589"/>
                <a:gd name="T59" fmla="*/ 2594 h 2823"/>
                <a:gd name="T60" fmla="*/ 2001 w 2589"/>
                <a:gd name="T61" fmla="*/ 2573 h 2823"/>
                <a:gd name="T62" fmla="*/ 392 w 2589"/>
                <a:gd name="T63" fmla="*/ 2200 h 2823"/>
                <a:gd name="T64" fmla="*/ 272 w 2589"/>
                <a:gd name="T65" fmla="*/ 2375 h 2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89" h="2823">
                  <a:moveTo>
                    <a:pt x="1431" y="2805"/>
                  </a:moveTo>
                  <a:cubicBezTo>
                    <a:pt x="1319" y="2789"/>
                    <a:pt x="1138" y="2739"/>
                    <a:pt x="949" y="2674"/>
                  </a:cubicBezTo>
                  <a:lnTo>
                    <a:pt x="781" y="2615"/>
                  </a:lnTo>
                  <a:lnTo>
                    <a:pt x="468" y="2607"/>
                  </a:lnTo>
                  <a:cubicBezTo>
                    <a:pt x="208" y="2601"/>
                    <a:pt x="149" y="2596"/>
                    <a:pt x="116" y="2579"/>
                  </a:cubicBezTo>
                  <a:cubicBezTo>
                    <a:pt x="63" y="2550"/>
                    <a:pt x="14" y="2489"/>
                    <a:pt x="6" y="2441"/>
                  </a:cubicBezTo>
                  <a:cubicBezTo>
                    <a:pt x="1" y="2418"/>
                    <a:pt x="0" y="2136"/>
                    <a:pt x="2" y="1812"/>
                  </a:cubicBezTo>
                  <a:lnTo>
                    <a:pt x="6" y="1223"/>
                  </a:lnTo>
                  <a:lnTo>
                    <a:pt x="42" y="1176"/>
                  </a:lnTo>
                  <a:cubicBezTo>
                    <a:pt x="99" y="1100"/>
                    <a:pt x="128" y="1094"/>
                    <a:pt x="415" y="1094"/>
                  </a:cubicBezTo>
                  <a:cubicBezTo>
                    <a:pt x="619" y="1094"/>
                    <a:pt x="674" y="1091"/>
                    <a:pt x="695" y="1076"/>
                  </a:cubicBezTo>
                  <a:cubicBezTo>
                    <a:pt x="716" y="1061"/>
                    <a:pt x="951" y="781"/>
                    <a:pt x="1102" y="590"/>
                  </a:cubicBezTo>
                  <a:cubicBezTo>
                    <a:pt x="1114" y="575"/>
                    <a:pt x="1136" y="512"/>
                    <a:pt x="1151" y="450"/>
                  </a:cubicBezTo>
                  <a:cubicBezTo>
                    <a:pt x="1218" y="165"/>
                    <a:pt x="1257" y="88"/>
                    <a:pt x="1362" y="35"/>
                  </a:cubicBezTo>
                  <a:cubicBezTo>
                    <a:pt x="1427" y="2"/>
                    <a:pt x="1487" y="0"/>
                    <a:pt x="1599" y="26"/>
                  </a:cubicBezTo>
                  <a:cubicBezTo>
                    <a:pt x="1748" y="61"/>
                    <a:pt x="1848" y="145"/>
                    <a:pt x="1902" y="281"/>
                  </a:cubicBezTo>
                  <a:cubicBezTo>
                    <a:pt x="1926" y="341"/>
                    <a:pt x="1930" y="374"/>
                    <a:pt x="1930" y="525"/>
                  </a:cubicBezTo>
                  <a:cubicBezTo>
                    <a:pt x="1930" y="684"/>
                    <a:pt x="1927" y="708"/>
                    <a:pt x="1897" y="785"/>
                  </a:cubicBezTo>
                  <a:lnTo>
                    <a:pt x="1865" y="869"/>
                  </a:lnTo>
                  <a:lnTo>
                    <a:pt x="2004" y="869"/>
                  </a:lnTo>
                  <a:cubicBezTo>
                    <a:pt x="2258" y="869"/>
                    <a:pt x="2355" y="898"/>
                    <a:pt x="2461" y="1005"/>
                  </a:cubicBezTo>
                  <a:cubicBezTo>
                    <a:pt x="2543" y="1087"/>
                    <a:pt x="2577" y="1164"/>
                    <a:pt x="2584" y="1282"/>
                  </a:cubicBezTo>
                  <a:cubicBezTo>
                    <a:pt x="2589" y="1359"/>
                    <a:pt x="2584" y="1396"/>
                    <a:pt x="2562" y="1461"/>
                  </a:cubicBezTo>
                  <a:cubicBezTo>
                    <a:pt x="2547" y="1507"/>
                    <a:pt x="2530" y="1547"/>
                    <a:pt x="2523" y="1551"/>
                  </a:cubicBezTo>
                  <a:cubicBezTo>
                    <a:pt x="2516" y="1555"/>
                    <a:pt x="2515" y="1599"/>
                    <a:pt x="2519" y="1654"/>
                  </a:cubicBezTo>
                  <a:cubicBezTo>
                    <a:pt x="2526" y="1737"/>
                    <a:pt x="2523" y="1764"/>
                    <a:pt x="2496" y="1844"/>
                  </a:cubicBezTo>
                  <a:cubicBezTo>
                    <a:pt x="2478" y="1899"/>
                    <a:pt x="2462" y="1982"/>
                    <a:pt x="2458" y="2043"/>
                  </a:cubicBezTo>
                  <a:cubicBezTo>
                    <a:pt x="2453" y="2130"/>
                    <a:pt x="2444" y="2164"/>
                    <a:pt x="2408" y="2237"/>
                  </a:cubicBezTo>
                  <a:cubicBezTo>
                    <a:pt x="2383" y="2286"/>
                    <a:pt x="2360" y="2355"/>
                    <a:pt x="2356" y="2392"/>
                  </a:cubicBezTo>
                  <a:cubicBezTo>
                    <a:pt x="2331" y="2606"/>
                    <a:pt x="2192" y="2755"/>
                    <a:pt x="1978" y="2801"/>
                  </a:cubicBezTo>
                  <a:cubicBezTo>
                    <a:pt x="1884" y="2821"/>
                    <a:pt x="1556" y="2823"/>
                    <a:pt x="1431" y="2805"/>
                  </a:cubicBezTo>
                  <a:close/>
                  <a:moveTo>
                    <a:pt x="2001" y="2573"/>
                  </a:moveTo>
                  <a:cubicBezTo>
                    <a:pt x="2101" y="2528"/>
                    <a:pt x="2156" y="2423"/>
                    <a:pt x="2148" y="2294"/>
                  </a:cubicBezTo>
                  <a:cubicBezTo>
                    <a:pt x="2143" y="2234"/>
                    <a:pt x="2146" y="2224"/>
                    <a:pt x="2182" y="2189"/>
                  </a:cubicBezTo>
                  <a:cubicBezTo>
                    <a:pt x="2243" y="2128"/>
                    <a:pt x="2265" y="2019"/>
                    <a:pt x="2236" y="1934"/>
                  </a:cubicBezTo>
                  <a:cubicBezTo>
                    <a:pt x="2224" y="1899"/>
                    <a:pt x="2226" y="1890"/>
                    <a:pt x="2254" y="1856"/>
                  </a:cubicBezTo>
                  <a:cubicBezTo>
                    <a:pt x="2316" y="1782"/>
                    <a:pt x="2325" y="1663"/>
                    <a:pt x="2276" y="1566"/>
                  </a:cubicBezTo>
                  <a:cubicBezTo>
                    <a:pt x="2255" y="1524"/>
                    <a:pt x="2255" y="1523"/>
                    <a:pt x="2280" y="1512"/>
                  </a:cubicBezTo>
                  <a:cubicBezTo>
                    <a:pt x="2318" y="1495"/>
                    <a:pt x="2374" y="1375"/>
                    <a:pt x="2374" y="1309"/>
                  </a:cubicBezTo>
                  <a:cubicBezTo>
                    <a:pt x="2374" y="1238"/>
                    <a:pt x="2335" y="1167"/>
                    <a:pt x="2270" y="1122"/>
                  </a:cubicBezTo>
                  <a:lnTo>
                    <a:pt x="2220" y="1088"/>
                  </a:lnTo>
                  <a:lnTo>
                    <a:pt x="1892" y="1084"/>
                  </a:lnTo>
                  <a:lnTo>
                    <a:pt x="1563" y="1080"/>
                  </a:lnTo>
                  <a:lnTo>
                    <a:pt x="1571" y="1040"/>
                  </a:lnTo>
                  <a:cubicBezTo>
                    <a:pt x="1581" y="986"/>
                    <a:pt x="1613" y="898"/>
                    <a:pt x="1670" y="763"/>
                  </a:cubicBezTo>
                  <a:cubicBezTo>
                    <a:pt x="1716" y="656"/>
                    <a:pt x="1718" y="643"/>
                    <a:pt x="1718" y="519"/>
                  </a:cubicBezTo>
                  <a:cubicBezTo>
                    <a:pt x="1718" y="402"/>
                    <a:pt x="1715" y="382"/>
                    <a:pt x="1687" y="332"/>
                  </a:cubicBezTo>
                  <a:cubicBezTo>
                    <a:pt x="1649" y="266"/>
                    <a:pt x="1603" y="236"/>
                    <a:pt x="1516" y="225"/>
                  </a:cubicBezTo>
                  <a:lnTo>
                    <a:pt x="1451" y="216"/>
                  </a:lnTo>
                  <a:lnTo>
                    <a:pt x="1427" y="265"/>
                  </a:lnTo>
                  <a:cubicBezTo>
                    <a:pt x="1414" y="291"/>
                    <a:pt x="1388" y="376"/>
                    <a:pt x="1369" y="454"/>
                  </a:cubicBezTo>
                  <a:cubicBezTo>
                    <a:pt x="1327" y="631"/>
                    <a:pt x="1303" y="686"/>
                    <a:pt x="1237" y="763"/>
                  </a:cubicBezTo>
                  <a:cubicBezTo>
                    <a:pt x="1207" y="797"/>
                    <a:pt x="1120" y="904"/>
                    <a:pt x="1042" y="1002"/>
                  </a:cubicBezTo>
                  <a:cubicBezTo>
                    <a:pt x="850" y="1242"/>
                    <a:pt x="772" y="1307"/>
                    <a:pt x="675" y="1307"/>
                  </a:cubicBezTo>
                  <a:lnTo>
                    <a:pt x="637" y="1307"/>
                  </a:lnTo>
                  <a:lnTo>
                    <a:pt x="640" y="1847"/>
                  </a:lnTo>
                  <a:lnTo>
                    <a:pt x="643" y="2388"/>
                  </a:lnTo>
                  <a:lnTo>
                    <a:pt x="731" y="2396"/>
                  </a:lnTo>
                  <a:cubicBezTo>
                    <a:pt x="782" y="2401"/>
                    <a:pt x="888" y="2429"/>
                    <a:pt x="987" y="2462"/>
                  </a:cubicBezTo>
                  <a:cubicBezTo>
                    <a:pt x="1169" y="2525"/>
                    <a:pt x="1361" y="2576"/>
                    <a:pt x="1473" y="2594"/>
                  </a:cubicBezTo>
                  <a:cubicBezTo>
                    <a:pt x="1512" y="2600"/>
                    <a:pt x="1633" y="2604"/>
                    <a:pt x="1743" y="2602"/>
                  </a:cubicBezTo>
                  <a:cubicBezTo>
                    <a:pt x="1916" y="2600"/>
                    <a:pt x="1951" y="2596"/>
                    <a:pt x="2001" y="2573"/>
                  </a:cubicBezTo>
                  <a:close/>
                  <a:moveTo>
                    <a:pt x="387" y="2357"/>
                  </a:moveTo>
                  <a:cubicBezTo>
                    <a:pt x="435" y="2324"/>
                    <a:pt x="437" y="2242"/>
                    <a:pt x="392" y="2200"/>
                  </a:cubicBezTo>
                  <a:cubicBezTo>
                    <a:pt x="348" y="2160"/>
                    <a:pt x="299" y="2160"/>
                    <a:pt x="250" y="2201"/>
                  </a:cubicBezTo>
                  <a:cubicBezTo>
                    <a:pt x="190" y="2252"/>
                    <a:pt x="200" y="2336"/>
                    <a:pt x="272" y="2375"/>
                  </a:cubicBezTo>
                  <a:cubicBezTo>
                    <a:pt x="309" y="2395"/>
                    <a:pt x="340" y="2390"/>
                    <a:pt x="387" y="235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sp>
        <p:nvSpPr>
          <p:cNvPr id="103" name="TextBox 102">
            <a:extLst>
              <a:ext uri="{FF2B5EF4-FFF2-40B4-BE49-F238E27FC236}">
                <a16:creationId xmlns:a16="http://schemas.microsoft.com/office/drawing/2014/main" id="{FFF2E5DB-8372-482B-B8CD-74E49607A413}"/>
              </a:ext>
            </a:extLst>
          </p:cNvPr>
          <p:cNvSpPr txBox="1"/>
          <p:nvPr/>
        </p:nvSpPr>
        <p:spPr>
          <a:xfrm>
            <a:off x="1542386" y="2225790"/>
            <a:ext cx="1611315" cy="64633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District</a:t>
            </a:r>
          </a:p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unding </a:t>
            </a:r>
          </a:p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Need</a:t>
            </a:r>
          </a:p>
        </p:txBody>
      </p:sp>
      <p:sp>
        <p:nvSpPr>
          <p:cNvPr id="104" name="Isosceles Triangle 103">
            <a:extLst>
              <a:ext uri="{FF2B5EF4-FFF2-40B4-BE49-F238E27FC236}">
                <a16:creationId xmlns:a16="http://schemas.microsoft.com/office/drawing/2014/main" id="{2226B551-C8AF-40BE-8DF2-E17FBD73A6E5}"/>
              </a:ext>
            </a:extLst>
          </p:cNvPr>
          <p:cNvSpPr/>
          <p:nvPr/>
        </p:nvSpPr>
        <p:spPr>
          <a:xfrm rot="5400000">
            <a:off x="6772604" y="6002697"/>
            <a:ext cx="348298" cy="223781"/>
          </a:xfrm>
          <a:prstGeom prst="triangle">
            <a:avLst/>
          </a:prstGeom>
          <a:solidFill>
            <a:srgbClr val="005837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5C48E1-E635-42E4-95F6-F672B7105933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365870" y="4736074"/>
            <a:ext cx="1109568" cy="1103472"/>
          </a:xfrm>
          <a:prstGeom prst="rect">
            <a:avLst/>
          </a:prstGeom>
        </p:spPr>
      </p:pic>
      <p:sp>
        <p:nvSpPr>
          <p:cNvPr id="107" name="TextBox 106">
            <a:extLst>
              <a:ext uri="{FF2B5EF4-FFF2-40B4-BE49-F238E27FC236}">
                <a16:creationId xmlns:a16="http://schemas.microsoft.com/office/drawing/2014/main" id="{3CD8F515-3888-4D75-A706-77AC87D1D80B}"/>
              </a:ext>
            </a:extLst>
          </p:cNvPr>
          <p:cNvSpPr txBox="1"/>
          <p:nvPr/>
        </p:nvSpPr>
        <p:spPr>
          <a:xfrm>
            <a:off x="7114996" y="5822819"/>
            <a:ext cx="1611316" cy="86177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Informational Outreach / Advocacy Campaign </a:t>
            </a: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545CE94B-4C66-4F41-A08E-FE87C1C05E33}"/>
              </a:ext>
            </a:extLst>
          </p:cNvPr>
          <p:cNvSpPr/>
          <p:nvPr/>
        </p:nvSpPr>
        <p:spPr>
          <a:xfrm>
            <a:off x="3633842" y="1287788"/>
            <a:ext cx="847636" cy="84805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01600" dir="21540000" sx="106000" sy="106000" algn="l" rotWithShape="0">
              <a:schemeClr val="tx2">
                <a:lumMod val="60000"/>
                <a:lumOff val="4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/>
            <a:endParaRPr lang="en-IN" dirty="0"/>
          </a:p>
        </p:txBody>
      </p:sp>
      <p:grpSp>
        <p:nvGrpSpPr>
          <p:cNvPr id="109" name="Toolbox">
            <a:extLst>
              <a:ext uri="{FF2B5EF4-FFF2-40B4-BE49-F238E27FC236}">
                <a16:creationId xmlns:a16="http://schemas.microsoft.com/office/drawing/2014/main" id="{DE09B88B-D065-41AF-9656-48D49EE2586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805100" y="1499450"/>
            <a:ext cx="502510" cy="376777"/>
            <a:chOff x="32" y="80"/>
            <a:chExt cx="422" cy="326"/>
          </a:xfrm>
          <a:solidFill>
            <a:srgbClr val="005837"/>
          </a:solidFill>
        </p:grpSpPr>
        <p:sp>
          <p:nvSpPr>
            <p:cNvPr id="110" name="Toolbox">
              <a:extLst>
                <a:ext uri="{FF2B5EF4-FFF2-40B4-BE49-F238E27FC236}">
                  <a16:creationId xmlns:a16="http://schemas.microsoft.com/office/drawing/2014/main" id="{5B72B8AD-7A0E-487F-875C-61A36921B96B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2" y="235"/>
              <a:ext cx="422" cy="171"/>
            </a:xfrm>
            <a:custGeom>
              <a:avLst/>
              <a:gdLst>
                <a:gd name="T0" fmla="*/ 677 w 1125"/>
                <a:gd name="T1" fmla="*/ 60 h 456"/>
                <a:gd name="T2" fmla="*/ 654 w 1125"/>
                <a:gd name="T3" fmla="*/ 84 h 456"/>
                <a:gd name="T4" fmla="*/ 468 w 1125"/>
                <a:gd name="T5" fmla="*/ 84 h 456"/>
                <a:gd name="T6" fmla="*/ 445 w 1125"/>
                <a:gd name="T7" fmla="*/ 60 h 456"/>
                <a:gd name="T8" fmla="*/ 445 w 1125"/>
                <a:gd name="T9" fmla="*/ 0 h 456"/>
                <a:gd name="T10" fmla="*/ 0 w 1125"/>
                <a:gd name="T11" fmla="*/ 0 h 456"/>
                <a:gd name="T12" fmla="*/ 0 w 1125"/>
                <a:gd name="T13" fmla="*/ 385 h 456"/>
                <a:gd name="T14" fmla="*/ 70 w 1125"/>
                <a:gd name="T15" fmla="*/ 456 h 456"/>
                <a:gd name="T16" fmla="*/ 1054 w 1125"/>
                <a:gd name="T17" fmla="*/ 456 h 456"/>
                <a:gd name="T18" fmla="*/ 1125 w 1125"/>
                <a:gd name="T19" fmla="*/ 385 h 456"/>
                <a:gd name="T20" fmla="*/ 1125 w 1125"/>
                <a:gd name="T21" fmla="*/ 0 h 456"/>
                <a:gd name="T22" fmla="*/ 677 w 1125"/>
                <a:gd name="T23" fmla="*/ 0 h 456"/>
                <a:gd name="T24" fmla="*/ 677 w 1125"/>
                <a:gd name="T25" fmla="*/ 6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5" h="456">
                  <a:moveTo>
                    <a:pt x="677" y="60"/>
                  </a:moveTo>
                  <a:cubicBezTo>
                    <a:pt x="677" y="73"/>
                    <a:pt x="667" y="84"/>
                    <a:pt x="654" y="84"/>
                  </a:cubicBezTo>
                  <a:lnTo>
                    <a:pt x="468" y="84"/>
                  </a:lnTo>
                  <a:cubicBezTo>
                    <a:pt x="455" y="84"/>
                    <a:pt x="445" y="73"/>
                    <a:pt x="445" y="60"/>
                  </a:cubicBezTo>
                  <a:lnTo>
                    <a:pt x="445" y="0"/>
                  </a:lnTo>
                  <a:lnTo>
                    <a:pt x="0" y="0"/>
                  </a:lnTo>
                  <a:lnTo>
                    <a:pt x="0" y="385"/>
                  </a:lnTo>
                  <a:cubicBezTo>
                    <a:pt x="0" y="424"/>
                    <a:pt x="31" y="456"/>
                    <a:pt x="70" y="456"/>
                  </a:cubicBezTo>
                  <a:lnTo>
                    <a:pt x="1054" y="456"/>
                  </a:lnTo>
                  <a:cubicBezTo>
                    <a:pt x="1093" y="456"/>
                    <a:pt x="1125" y="424"/>
                    <a:pt x="1125" y="385"/>
                  </a:cubicBezTo>
                  <a:lnTo>
                    <a:pt x="1125" y="0"/>
                  </a:lnTo>
                  <a:lnTo>
                    <a:pt x="677" y="0"/>
                  </a:lnTo>
                  <a:lnTo>
                    <a:pt x="677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Toolbox">
              <a:extLst>
                <a:ext uri="{FF2B5EF4-FFF2-40B4-BE49-F238E27FC236}">
                  <a16:creationId xmlns:a16="http://schemas.microsoft.com/office/drawing/2014/main" id="{9AB554FA-D678-4248-BC10-C597939F7933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34" y="241"/>
              <a:ext cx="17" cy="1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Toolbox">
              <a:extLst>
                <a:ext uri="{FF2B5EF4-FFF2-40B4-BE49-F238E27FC236}">
                  <a16:creationId xmlns:a16="http://schemas.microsoft.com/office/drawing/2014/main" id="{C89886B4-5828-460F-8415-83C8EE0F270A}"/>
                </a:ext>
              </a:extLst>
            </p:cNvPr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auto">
            <a:xfrm>
              <a:off x="32" y="80"/>
              <a:ext cx="422" cy="148"/>
            </a:xfrm>
            <a:custGeom>
              <a:avLst/>
              <a:gdLst>
                <a:gd name="T0" fmla="*/ 1054 w 1125"/>
                <a:gd name="T1" fmla="*/ 170 h 392"/>
                <a:gd name="T2" fmla="*/ 818 w 1125"/>
                <a:gd name="T3" fmla="*/ 170 h 392"/>
                <a:gd name="T4" fmla="*/ 818 w 1125"/>
                <a:gd name="T5" fmla="*/ 71 h 392"/>
                <a:gd name="T6" fmla="*/ 747 w 1125"/>
                <a:gd name="T7" fmla="*/ 0 h 392"/>
                <a:gd name="T8" fmla="*/ 377 w 1125"/>
                <a:gd name="T9" fmla="*/ 0 h 392"/>
                <a:gd name="T10" fmla="*/ 306 w 1125"/>
                <a:gd name="T11" fmla="*/ 71 h 392"/>
                <a:gd name="T12" fmla="*/ 306 w 1125"/>
                <a:gd name="T13" fmla="*/ 170 h 392"/>
                <a:gd name="T14" fmla="*/ 70 w 1125"/>
                <a:gd name="T15" fmla="*/ 170 h 392"/>
                <a:gd name="T16" fmla="*/ 0 w 1125"/>
                <a:gd name="T17" fmla="*/ 241 h 392"/>
                <a:gd name="T18" fmla="*/ 0 w 1125"/>
                <a:gd name="T19" fmla="*/ 392 h 392"/>
                <a:gd name="T20" fmla="*/ 445 w 1125"/>
                <a:gd name="T21" fmla="*/ 392 h 392"/>
                <a:gd name="T22" fmla="*/ 468 w 1125"/>
                <a:gd name="T23" fmla="*/ 368 h 392"/>
                <a:gd name="T24" fmla="*/ 654 w 1125"/>
                <a:gd name="T25" fmla="*/ 368 h 392"/>
                <a:gd name="T26" fmla="*/ 677 w 1125"/>
                <a:gd name="T27" fmla="*/ 392 h 392"/>
                <a:gd name="T28" fmla="*/ 1125 w 1125"/>
                <a:gd name="T29" fmla="*/ 392 h 392"/>
                <a:gd name="T30" fmla="*/ 1125 w 1125"/>
                <a:gd name="T31" fmla="*/ 241 h 392"/>
                <a:gd name="T32" fmla="*/ 1054 w 1125"/>
                <a:gd name="T33" fmla="*/ 170 h 392"/>
                <a:gd name="T34" fmla="*/ 738 w 1125"/>
                <a:gd name="T35" fmla="*/ 170 h 392"/>
                <a:gd name="T36" fmla="*/ 386 w 1125"/>
                <a:gd name="T37" fmla="*/ 170 h 392"/>
                <a:gd name="T38" fmla="*/ 386 w 1125"/>
                <a:gd name="T39" fmla="*/ 109 h 392"/>
                <a:gd name="T40" fmla="*/ 426 w 1125"/>
                <a:gd name="T41" fmla="*/ 69 h 392"/>
                <a:gd name="T42" fmla="*/ 698 w 1125"/>
                <a:gd name="T43" fmla="*/ 69 h 392"/>
                <a:gd name="T44" fmla="*/ 738 w 1125"/>
                <a:gd name="T45" fmla="*/ 109 h 392"/>
                <a:gd name="T46" fmla="*/ 738 w 1125"/>
                <a:gd name="T47" fmla="*/ 17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5" h="392">
                  <a:moveTo>
                    <a:pt x="1054" y="170"/>
                  </a:moveTo>
                  <a:lnTo>
                    <a:pt x="818" y="170"/>
                  </a:lnTo>
                  <a:lnTo>
                    <a:pt x="818" y="71"/>
                  </a:lnTo>
                  <a:cubicBezTo>
                    <a:pt x="818" y="32"/>
                    <a:pt x="786" y="0"/>
                    <a:pt x="747" y="0"/>
                  </a:cubicBezTo>
                  <a:lnTo>
                    <a:pt x="377" y="0"/>
                  </a:lnTo>
                  <a:cubicBezTo>
                    <a:pt x="338" y="0"/>
                    <a:pt x="306" y="32"/>
                    <a:pt x="306" y="71"/>
                  </a:cubicBezTo>
                  <a:lnTo>
                    <a:pt x="306" y="170"/>
                  </a:lnTo>
                  <a:lnTo>
                    <a:pt x="70" y="170"/>
                  </a:lnTo>
                  <a:cubicBezTo>
                    <a:pt x="31" y="170"/>
                    <a:pt x="0" y="202"/>
                    <a:pt x="0" y="241"/>
                  </a:cubicBezTo>
                  <a:lnTo>
                    <a:pt x="0" y="392"/>
                  </a:lnTo>
                  <a:lnTo>
                    <a:pt x="445" y="392"/>
                  </a:lnTo>
                  <a:cubicBezTo>
                    <a:pt x="445" y="379"/>
                    <a:pt x="455" y="368"/>
                    <a:pt x="468" y="368"/>
                  </a:cubicBezTo>
                  <a:lnTo>
                    <a:pt x="654" y="368"/>
                  </a:lnTo>
                  <a:cubicBezTo>
                    <a:pt x="667" y="368"/>
                    <a:pt x="677" y="379"/>
                    <a:pt x="677" y="392"/>
                  </a:cubicBezTo>
                  <a:lnTo>
                    <a:pt x="1125" y="392"/>
                  </a:lnTo>
                  <a:lnTo>
                    <a:pt x="1125" y="241"/>
                  </a:lnTo>
                  <a:cubicBezTo>
                    <a:pt x="1125" y="202"/>
                    <a:pt x="1093" y="170"/>
                    <a:pt x="1054" y="170"/>
                  </a:cubicBezTo>
                  <a:close/>
                  <a:moveTo>
                    <a:pt x="738" y="170"/>
                  </a:moveTo>
                  <a:lnTo>
                    <a:pt x="386" y="170"/>
                  </a:lnTo>
                  <a:lnTo>
                    <a:pt x="386" y="109"/>
                  </a:lnTo>
                  <a:cubicBezTo>
                    <a:pt x="386" y="87"/>
                    <a:pt x="404" y="69"/>
                    <a:pt x="426" y="69"/>
                  </a:cubicBezTo>
                  <a:lnTo>
                    <a:pt x="698" y="69"/>
                  </a:lnTo>
                  <a:cubicBezTo>
                    <a:pt x="720" y="69"/>
                    <a:pt x="738" y="87"/>
                    <a:pt x="738" y="109"/>
                  </a:cubicBezTo>
                  <a:lnTo>
                    <a:pt x="738" y="17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3" name="TextBox 112">
            <a:extLst>
              <a:ext uri="{FF2B5EF4-FFF2-40B4-BE49-F238E27FC236}">
                <a16:creationId xmlns:a16="http://schemas.microsoft.com/office/drawing/2014/main" id="{B438DD37-9BF2-49B2-A0A6-24690756474E}"/>
              </a:ext>
            </a:extLst>
          </p:cNvPr>
          <p:cNvSpPr txBox="1"/>
          <p:nvPr/>
        </p:nvSpPr>
        <p:spPr>
          <a:xfrm>
            <a:off x="3225883" y="2228976"/>
            <a:ext cx="1611316" cy="4308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Community Outreach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849AFA6-3EDC-4330-8D32-0EA4327FD384}"/>
              </a:ext>
            </a:extLst>
          </p:cNvPr>
          <p:cNvPicPr>
            <a:picLocks noChangeAspect="1"/>
          </p:cNvPicPr>
          <p:nvPr/>
        </p:nvPicPr>
        <p:blipFill>
          <a:blip r:embed="rId23">
            <a:alphaModFix amt="20000"/>
          </a:blip>
          <a:stretch>
            <a:fillRect/>
          </a:stretch>
        </p:blipFill>
        <p:spPr>
          <a:xfrm>
            <a:off x="4938307" y="2306632"/>
            <a:ext cx="219475" cy="34750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13B864-F098-4211-8C98-014937B6FEE0}"/>
              </a:ext>
            </a:extLst>
          </p:cNvPr>
          <p:cNvPicPr>
            <a:picLocks noChangeAspect="1"/>
          </p:cNvPicPr>
          <p:nvPr/>
        </p:nvPicPr>
        <p:blipFill>
          <a:blip r:embed="rId23">
            <a:alphaModFix amt="20000"/>
          </a:blip>
          <a:stretch>
            <a:fillRect/>
          </a:stretch>
        </p:blipFill>
        <p:spPr>
          <a:xfrm>
            <a:off x="2974590" y="2285739"/>
            <a:ext cx="219475" cy="347502"/>
          </a:xfrm>
          <a:prstGeom prst="rect">
            <a:avLst/>
          </a:prstGeom>
        </p:spPr>
      </p:pic>
      <p:sp>
        <p:nvSpPr>
          <p:cNvPr id="116" name="Oval 115">
            <a:extLst>
              <a:ext uri="{FF2B5EF4-FFF2-40B4-BE49-F238E27FC236}">
                <a16:creationId xmlns:a16="http://schemas.microsoft.com/office/drawing/2014/main" id="{A4972127-6A6F-4A7C-927D-190B407030DB}"/>
              </a:ext>
            </a:extLst>
          </p:cNvPr>
          <p:cNvSpPr/>
          <p:nvPr/>
        </p:nvSpPr>
        <p:spPr>
          <a:xfrm>
            <a:off x="7391906" y="1270024"/>
            <a:ext cx="847636" cy="84805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01600" dir="21540000" sx="106000" sy="106000" algn="l" rotWithShape="0">
              <a:schemeClr val="tx2">
                <a:lumMod val="60000"/>
                <a:lumOff val="4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/>
            <a:endParaRPr lang="en-IN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4BCABE1-D5B0-4A96-A1DD-C59CCCCCC9E0}"/>
              </a:ext>
            </a:extLst>
          </p:cNvPr>
          <p:cNvPicPr>
            <a:picLocks noChangeAspect="1"/>
          </p:cNvPicPr>
          <p:nvPr/>
        </p:nvPicPr>
        <p:blipFill>
          <a:blip r:embed="rId24">
            <a:alphaModFix amt="20000"/>
          </a:blip>
          <a:stretch>
            <a:fillRect/>
          </a:stretch>
        </p:blipFill>
        <p:spPr>
          <a:xfrm>
            <a:off x="6783891" y="4115823"/>
            <a:ext cx="219475" cy="34750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518ACD3-3303-424D-8645-C3D68020D160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692716" y="1431822"/>
            <a:ext cx="481626" cy="463336"/>
          </a:xfrm>
          <a:prstGeom prst="rect">
            <a:avLst/>
          </a:prstGeom>
        </p:spPr>
      </p:pic>
      <p:sp>
        <p:nvSpPr>
          <p:cNvPr id="120" name="TextBox 119">
            <a:extLst>
              <a:ext uri="{FF2B5EF4-FFF2-40B4-BE49-F238E27FC236}">
                <a16:creationId xmlns:a16="http://schemas.microsoft.com/office/drawing/2014/main" id="{933E415F-1883-4F57-859A-991FF1095851}"/>
              </a:ext>
            </a:extLst>
          </p:cNvPr>
          <p:cNvSpPr txBox="1"/>
          <p:nvPr/>
        </p:nvSpPr>
        <p:spPr>
          <a:xfrm>
            <a:off x="5048044" y="2292036"/>
            <a:ext cx="1611315" cy="4308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Feasibility Analysis</a:t>
            </a:r>
          </a:p>
        </p:txBody>
      </p:sp>
      <p:sp>
        <p:nvSpPr>
          <p:cNvPr id="122" name="Slide Number Placeholder 3">
            <a:extLst>
              <a:ext uri="{FF2B5EF4-FFF2-40B4-BE49-F238E27FC236}">
                <a16:creationId xmlns:a16="http://schemas.microsoft.com/office/drawing/2014/main" id="{98ECF251-6E91-4602-8851-A318D5A2C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81950" y="6356352"/>
            <a:ext cx="2057400" cy="365125"/>
          </a:xfrm>
        </p:spPr>
        <p:txBody>
          <a:bodyPr/>
          <a:lstStyle/>
          <a:p>
            <a:pPr>
              <a:defRPr/>
            </a:pPr>
            <a:fld id="{DCF1FA3E-C52C-4A2C-AE42-F2875C7E2F52}" type="slidenum">
              <a:rPr lang="en-US" altLang="en-US" smtClean="0"/>
              <a:pPr>
                <a:defRPr/>
              </a:pPr>
              <a:t>8</a:t>
            </a:fld>
            <a:endParaRPr lang="en-US" altLang="en-US" dirty="0"/>
          </a:p>
        </p:txBody>
      </p:sp>
      <p:grpSp>
        <p:nvGrpSpPr>
          <p:cNvPr id="587" name="Idea2">
            <a:extLst>
              <a:ext uri="{FF2B5EF4-FFF2-40B4-BE49-F238E27FC236}">
                <a16:creationId xmlns:a16="http://schemas.microsoft.com/office/drawing/2014/main" id="{603423AA-CFCD-47C7-833A-4BA5FEEE373F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7575147" y="1472875"/>
            <a:ext cx="433355" cy="464964"/>
            <a:chOff x="2087986" y="1812758"/>
            <a:chExt cx="316995" cy="350423"/>
          </a:xfrm>
          <a:solidFill>
            <a:srgbClr val="005837"/>
          </a:solidFill>
        </p:grpSpPr>
        <p:sp>
          <p:nvSpPr>
            <p:cNvPr id="588" name="Crowdsourcing2">
              <a:extLst>
                <a:ext uri="{FF2B5EF4-FFF2-40B4-BE49-F238E27FC236}">
                  <a16:creationId xmlns:a16="http://schemas.microsoft.com/office/drawing/2014/main" id="{43FD964B-295F-464A-A558-80D417D9A246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12479" y="2095171"/>
              <a:ext cx="68010" cy="2305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9" name="Crowdsourcing2">
              <a:extLst>
                <a:ext uri="{FF2B5EF4-FFF2-40B4-BE49-F238E27FC236}">
                  <a16:creationId xmlns:a16="http://schemas.microsoft.com/office/drawing/2014/main" id="{86B77E09-A766-4A1D-9D92-35AE0862A7D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235533" y="1812758"/>
              <a:ext cx="21901" cy="68010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0" name="Crowdsourcing2">
              <a:extLst>
                <a:ext uri="{FF2B5EF4-FFF2-40B4-BE49-F238E27FC236}">
                  <a16:creationId xmlns:a16="http://schemas.microsoft.com/office/drawing/2014/main" id="{5C81CD95-7311-426C-83A1-7742775CC82E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087986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1" name="Crowdsourcing2">
              <a:extLst>
                <a:ext uri="{FF2B5EF4-FFF2-40B4-BE49-F238E27FC236}">
                  <a16:creationId xmlns:a16="http://schemas.microsoft.com/office/drawing/2014/main" id="{E3F61039-453F-47A8-A621-3909BF7BEAF7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128331" y="1853103"/>
              <a:ext cx="56483" cy="55330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2" name="Crowdsourcing2">
              <a:extLst>
                <a:ext uri="{FF2B5EF4-FFF2-40B4-BE49-F238E27FC236}">
                  <a16:creationId xmlns:a16="http://schemas.microsoft.com/office/drawing/2014/main" id="{628C834B-C19A-4E22-865B-D288A5135170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307001" y="1853103"/>
              <a:ext cx="56483" cy="55330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3" name="Crowdsourcing2">
              <a:extLst>
                <a:ext uri="{FF2B5EF4-FFF2-40B4-BE49-F238E27FC236}">
                  <a16:creationId xmlns:a16="http://schemas.microsoft.com/office/drawing/2014/main" id="{D1E58113-CE9E-41C1-92AE-F3E9EFB8AB53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336971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4" name="Crowdsourcing2">
              <a:extLst>
                <a:ext uri="{FF2B5EF4-FFF2-40B4-BE49-F238E27FC236}">
                  <a16:creationId xmlns:a16="http://schemas.microsoft.com/office/drawing/2014/main" id="{33405A33-1D47-4A61-8E45-67788216BA65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212479" y="2128600"/>
              <a:ext cx="68010" cy="34581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5" name="Crowdsourcing2">
              <a:extLst>
                <a:ext uri="{FF2B5EF4-FFF2-40B4-BE49-F238E27FC236}">
                  <a16:creationId xmlns:a16="http://schemas.microsoft.com/office/drawing/2014/main" id="{E7295D4E-E6A5-45EB-81FD-6BF2BF007820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167523" y="1892295"/>
              <a:ext cx="157921" cy="191349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885CCCD-43F9-E7B9-1700-713E4F7120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</p:spPr>
        <p:txBody>
          <a:bodyPr/>
          <a:lstStyle/>
          <a:p>
            <a:r>
              <a:rPr lang="en-US" dirty="0"/>
              <a:t>Local Funding Measures for Parks and Recreation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055661FC-1B26-5739-4131-59C4157A1C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</p:spPr>
        <p:txBody>
          <a:bodyPr/>
          <a:lstStyle/>
          <a:p>
            <a:r>
              <a:rPr lang="en-US" dirty="0"/>
              <a:t>July 16, 2025</a:t>
            </a:r>
          </a:p>
        </p:txBody>
      </p:sp>
    </p:spTree>
    <p:extLst>
      <p:ext uri="{BB962C8B-B14F-4D97-AF65-F5344CB8AC3E}">
        <p14:creationId xmlns:p14="http://schemas.microsoft.com/office/powerpoint/2010/main" val="68641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5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5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5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5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4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4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4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4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4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4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4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4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4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4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4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6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6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6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5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5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5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5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5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5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50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5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5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1000"/>
                                        <p:tgtEl>
                                          <p:spTgt spid="5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5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5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1000"/>
                                        <p:tgtEl>
                                          <p:spTgt spid="50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5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5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1000"/>
                                        <p:tgtEl>
                                          <p:spTgt spid="50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5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1000" fill="hold"/>
                                        <p:tgtEl>
                                          <p:spTgt spid="5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1000"/>
                                        <p:tgtEl>
                                          <p:spTgt spid="6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6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6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1000"/>
                                        <p:tgtEl>
                                          <p:spTgt spid="5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5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5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1000"/>
                                        <p:tgtEl>
                                          <p:spTgt spid="5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5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1000" fill="hold"/>
                                        <p:tgtEl>
                                          <p:spTgt spid="5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1000"/>
                                        <p:tgtEl>
                                          <p:spTgt spid="6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6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6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1000"/>
                                        <p:tgtEl>
                                          <p:spTgt spid="5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5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5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2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3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5" fill="hold">
                      <p:stCondLst>
                        <p:cond delay="indefinite"/>
                      </p:stCondLst>
                      <p:childTnLst>
                        <p:par>
                          <p:cTn id="166" fill="hold">
                            <p:stCondLst>
                              <p:cond delay="0"/>
                            </p:stCondLst>
                            <p:childTnLst>
                              <p:par>
                                <p:cTn id="16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1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5" dur="1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1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9" grpId="0" animBg="1"/>
      <p:bldP spid="490" grpId="0"/>
      <p:bldP spid="496" grpId="0"/>
      <p:bldP spid="497" grpId="0" animBg="1"/>
      <p:bldP spid="500" grpId="0" animBg="1"/>
      <p:bldP spid="502" grpId="0"/>
      <p:bldP spid="503" grpId="0" animBg="1"/>
      <p:bldP spid="507" grpId="0" animBg="1"/>
      <p:bldP spid="510" grpId="0"/>
      <p:bldP spid="514" grpId="0"/>
      <p:bldP spid="515" grpId="0" animBg="1"/>
      <p:bldP spid="520" grpId="0"/>
      <p:bldP spid="484" grpId="0" animBg="1"/>
      <p:bldP spid="494" grpId="0" animBg="1"/>
      <p:bldP spid="596" grpId="0" animBg="1"/>
      <p:bldP spid="104" grpId="0" animBg="1"/>
      <p:bldP spid="107" grpId="0"/>
      <p:bldP spid="108" grpId="0" animBg="1"/>
      <p:bldP spid="113" grpId="0"/>
      <p:bldP spid="116" grpId="0" animBg="1"/>
      <p:bldP spid="12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12">
            <a:extLst>
              <a:ext uri="{FF2B5EF4-FFF2-40B4-BE49-F238E27FC236}">
                <a16:creationId xmlns:a16="http://schemas.microsoft.com/office/drawing/2014/main" id="{3CFC9789-57F4-4B9C-ABAA-6F7C8BADCA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2" name="Rectangle 14">
            <a:extLst>
              <a:ext uri="{FF2B5EF4-FFF2-40B4-BE49-F238E27FC236}">
                <a16:creationId xmlns:a16="http://schemas.microsoft.com/office/drawing/2014/main" id="{9B54F538-07DE-4652-B506-5D16E3EBBB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cxnSp>
        <p:nvCxnSpPr>
          <p:cNvPr id="33" name="Straight Connector 16">
            <a:extLst>
              <a:ext uri="{FF2B5EF4-FFF2-40B4-BE49-F238E27FC236}">
                <a16:creationId xmlns:a16="http://schemas.microsoft.com/office/drawing/2014/main" id="{03D56195-A6AC-4958-8B87-F7D009353E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4" name="Rectangle 18">
            <a:extLst>
              <a:ext uri="{FF2B5EF4-FFF2-40B4-BE49-F238E27FC236}">
                <a16:creationId xmlns:a16="http://schemas.microsoft.com/office/drawing/2014/main" id="{605A42EF-68E6-4808-81CD-E5ABD0ED92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1" cy="6334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EA3DA3-91DA-243C-A652-DFC906626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1685" y="634946"/>
            <a:ext cx="5127171" cy="145075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Questions?</a:t>
            </a:r>
          </a:p>
        </p:txBody>
      </p:sp>
      <p:cxnSp>
        <p:nvCxnSpPr>
          <p:cNvPr id="35" name="Straight Connector 20">
            <a:extLst>
              <a:ext uri="{FF2B5EF4-FFF2-40B4-BE49-F238E27FC236}">
                <a16:creationId xmlns:a16="http://schemas.microsoft.com/office/drawing/2014/main" id="{3C4A154E-1950-4755-A5FC-5998EE0CC1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411684" y="2086188"/>
            <a:ext cx="4748808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E7E840-3B2F-9ECF-F9F2-F84F9A4AE8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411684" y="2198914"/>
            <a:ext cx="2503716" cy="3670180"/>
          </a:xfrm>
        </p:spPr>
        <p:txBody>
          <a:bodyPr vert="horz" lIns="0" tIns="45720" rIns="0" bIns="45720" rtlCol="0">
            <a:norm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>
              <a:spcBef>
                <a:spcPts val="1800"/>
              </a:spcBef>
              <a:spcAft>
                <a:spcPts val="600"/>
              </a:spcAft>
            </a:pPr>
            <a:endParaRPr lang="en-US" b="1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Rectangle 22">
            <a:extLst>
              <a:ext uri="{FF2B5EF4-FFF2-40B4-BE49-F238E27FC236}">
                <a16:creationId xmlns:a16="http://schemas.microsoft.com/office/drawing/2014/main" id="{3FE9C285-56FB-4B36-8ECA-C2D6596AA9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7" name="Rectangle 24">
            <a:extLst>
              <a:ext uri="{FF2B5EF4-FFF2-40B4-BE49-F238E27FC236}">
                <a16:creationId xmlns:a16="http://schemas.microsoft.com/office/drawing/2014/main" id="{937C076B-00B1-4629-B27F-A86F9885FB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438460-3367-2E7C-E6B6-FBFF89F26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00458" y="6459785"/>
            <a:ext cx="1312025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DF28FB93-0A08-4E7D-8E63-9EFA29F1E093}" type="slidenum">
              <a:rPr lang="en-US" smtClean="0">
                <a:solidFill>
                  <a:srgbClr val="FFFFFF"/>
                </a:solidFill>
              </a:rPr>
              <a:pPr defTabSz="914400">
                <a:spcAft>
                  <a:spcPts val="600"/>
                </a:spcAft>
              </a:pPr>
              <a:t>9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F2E65FCB-ED27-036D-6224-C5756924ED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7336" y="4361237"/>
            <a:ext cx="3436127" cy="936157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F4AC7EC-C8F9-06BD-8832-B3A64AA1FF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Local Funding Measures for Parks and Recreation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4C0BC7F2-1102-FE70-D4F8-6E90C6BB4F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</p:spPr>
        <p:txBody>
          <a:bodyPr/>
          <a:lstStyle/>
          <a:p>
            <a:r>
              <a:rPr lang="en-US" dirty="0"/>
              <a:t>July 16, 2025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CFD2ED-AFAE-8440-1536-C50F8BB578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7200" y="2494479"/>
            <a:ext cx="1676400" cy="145846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99E1F28-8CB0-24D8-4975-C2ABE33C70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8002" y="999321"/>
            <a:ext cx="4887628" cy="4887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759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box_POWER_USER_SEPARATOR_ICONS_bag_POWER_USER_SEPARATOR_ICONS_briefcase_POWER_USER_SEPARATOR_ICONS_carry_POWER_USER_SEPARATOR_ICONS_luggage_POWER_USER_SEPARATOR_ICONS_purse_POWER_USER_SEPARATOR_ICONS_suitca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box_POWER_USER_SEPARATOR_ICONS_bag_POWER_USER_SEPARATOR_ICONS_briefcase_POWER_USER_SEPARATOR_ICONS_carry_POWER_USER_SEPARATOR_ICONS_luggage_POWER_USER_SEPARATOR_ICONS_purse_POWER_USER_SEPARATOR_ICONS_suitcas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box_POWER_USER_SEPARATOR_ICONS_bag_POWER_USER_SEPARATOR_ICONS_briefcase_POWER_USER_SEPARATOR_ICONS_carry_POWER_USER_SEPARATOR_ICONS_luggage_POWER_USER_SEPARATOR_ICONS_purse_POWER_USER_SEPARATOR_ICONS_suitcas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industry_POWER_USER_SEPARATOR_ICONS_sett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box_POWER_USER_SEPARATOR_ICONS_bag_POWER_USER_SEPARATOR_ICONS_briefcase_POWER_USER_SEPARATOR_ICONS_carry_POWER_USER_SEPARATOR_ICONS_luggage_POWER_USER_SEPARATOR_ICONS_purse_POWER_USER_SEPARATOR_ICONS_suitca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box_POWER_USER_SEPARATOR_ICONS_bag_POWER_USER_SEPARATOR_ICONS_briefcase_POWER_USER_SEPARATOR_ICONS_carry_POWER_USER_SEPARATOR_ICONS_luggage_POWER_USER_SEPARATOR_ICONS_purse_POWER_USER_SEPARATOR_ICONS_suitcas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box_POWER_USER_SEPARATOR_ICONS_bag_POWER_USER_SEPARATOR_ICONS_briefcase_POWER_USER_SEPARATOR_ICONS_carry_POWER_USER_SEPARATOR_ICONS_luggage_POWER_USER_SEPARATOR_ICONS_purse_POWER_USER_SEPARATOR_ICONS_suitca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box_POWER_USER_SEPARATOR_ICONS_bag_POWER_USER_SEPARATOR_ICONS_briefcase_POWER_USER_SEPARATOR_ICONS_carry_POWER_USER_SEPARATOR_ICONS_luggage_POWER_USER_SEPARATOR_ICONS_purse_POWER_USER_SEPARATOR_ICONS_suitca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box_POWER_USER_SEPARATOR_ICONS_bag_POWER_USER_SEPARATOR_ICONS_briefcase_POWER_USER_SEPARATOR_ICONS_carry_POWER_USER_SEPARATOR_ICONS_luggage_POWER_USER_SEPARATOR_ICONS_purse_POWER_USER_SEPARATOR_ICONS_suitca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heme/theme1.xml><?xml version="1.0" encoding="utf-8"?>
<a:theme xmlns:a="http://schemas.openxmlformats.org/drawingml/2006/main" name="Retrospect">
  <a:themeElements>
    <a:clrScheme name="SCI Custom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005137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2.xml><?xml version="1.0" encoding="utf-8"?>
<a:theme xmlns:a="http://schemas.openxmlformats.org/drawingml/2006/main" name="Office Theme">
  <a:themeElements>
    <a:clrScheme name="Median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Calibri">
      <a:majorFont>
        <a:latin typeface="Calibri" panose="020F050202020403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CI Custom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005137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3809</TotalTime>
  <Words>392</Words>
  <Application>Microsoft Office PowerPoint</Application>
  <PresentationFormat>Widescreen</PresentationFormat>
  <Paragraphs>122</Paragraphs>
  <Slides>9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2" baseType="lpstr">
      <vt:lpstr>Arial</vt:lpstr>
      <vt:lpstr>Calibri</vt:lpstr>
      <vt:lpstr>Retrospect</vt:lpstr>
      <vt:lpstr>Local Districtwide Funding Measures</vt:lpstr>
      <vt:lpstr>About SCI Consulting Group</vt:lpstr>
      <vt:lpstr>Tonight’s Presentation</vt:lpstr>
      <vt:lpstr>The Three Hurdles of Revenue Enhancement</vt:lpstr>
      <vt:lpstr>Park Assessment</vt:lpstr>
      <vt:lpstr>Special Tax</vt:lpstr>
      <vt:lpstr>CFD Special Tax</vt:lpstr>
      <vt:lpstr>Steps to a Successful Funding Measure 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rk Impact Fee Program Update Overview</dc:title>
  <dc:creator>Blair Aas</dc:creator>
  <cp:lastModifiedBy>General Manager</cp:lastModifiedBy>
  <cp:revision>50</cp:revision>
  <cp:lastPrinted>2023-01-11T16:28:21Z</cp:lastPrinted>
  <dcterms:created xsi:type="dcterms:W3CDTF">2022-11-22T02:10:58Z</dcterms:created>
  <dcterms:modified xsi:type="dcterms:W3CDTF">2025-07-17T00:28:12Z</dcterms:modified>
</cp:coreProperties>
</file>